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80" r:id="rId1"/>
  </p:sldMasterIdLst>
  <p:notesMasterIdLst>
    <p:notesMasterId r:id="rId16"/>
  </p:notesMasterIdLst>
  <p:handoutMasterIdLst>
    <p:handoutMasterId r:id="rId17"/>
  </p:handoutMasterIdLst>
  <p:sldIdLst>
    <p:sldId id="261" r:id="rId2"/>
    <p:sldId id="268" r:id="rId3"/>
    <p:sldId id="290" r:id="rId4"/>
    <p:sldId id="285" r:id="rId5"/>
    <p:sldId id="284" r:id="rId6"/>
    <p:sldId id="286" r:id="rId7"/>
    <p:sldId id="279" r:id="rId8"/>
    <p:sldId id="280" r:id="rId9"/>
    <p:sldId id="287" r:id="rId10"/>
    <p:sldId id="288" r:id="rId11"/>
    <p:sldId id="266" r:id="rId12"/>
    <p:sldId id="264" r:id="rId13"/>
    <p:sldId id="260" r:id="rId14"/>
    <p:sldId id="292" r:id="rId15"/>
  </p:sldIdLst>
  <p:sldSz cx="10058400" cy="7772400"/>
  <p:notesSz cx="6934200" cy="9220200"/>
  <p:custDataLst>
    <p:tags r:id="rId18"/>
  </p:custDataLst>
  <p:defaultTextStyle>
    <a:defPPr>
      <a:defRPr lang="en-US"/>
    </a:defPPr>
    <a:lvl1pPr algn="l" rtl="0" eaLnBrk="0" fontAlgn="base" hangingPunct="0">
      <a:spcBef>
        <a:spcPct val="0"/>
      </a:spcBef>
      <a:spcAft>
        <a:spcPct val="0"/>
      </a:spcAft>
      <a:defRPr sz="2200" kern="1200">
        <a:solidFill>
          <a:schemeClr val="tx1"/>
        </a:solidFill>
        <a:latin typeface="Georgia" pitchFamily="18" charset="0"/>
        <a:ea typeface="+mn-ea"/>
        <a:cs typeface="+mn-cs"/>
      </a:defRPr>
    </a:lvl1pPr>
    <a:lvl2pPr marL="457200" algn="l" rtl="0" eaLnBrk="0" fontAlgn="base" hangingPunct="0">
      <a:spcBef>
        <a:spcPct val="0"/>
      </a:spcBef>
      <a:spcAft>
        <a:spcPct val="0"/>
      </a:spcAft>
      <a:defRPr sz="2200" kern="1200">
        <a:solidFill>
          <a:schemeClr val="tx1"/>
        </a:solidFill>
        <a:latin typeface="Georgia" pitchFamily="18" charset="0"/>
        <a:ea typeface="+mn-ea"/>
        <a:cs typeface="+mn-cs"/>
      </a:defRPr>
    </a:lvl2pPr>
    <a:lvl3pPr marL="914400" algn="l" rtl="0" eaLnBrk="0" fontAlgn="base" hangingPunct="0">
      <a:spcBef>
        <a:spcPct val="0"/>
      </a:spcBef>
      <a:spcAft>
        <a:spcPct val="0"/>
      </a:spcAft>
      <a:defRPr sz="2200" kern="1200">
        <a:solidFill>
          <a:schemeClr val="tx1"/>
        </a:solidFill>
        <a:latin typeface="Georgia" pitchFamily="18" charset="0"/>
        <a:ea typeface="+mn-ea"/>
        <a:cs typeface="+mn-cs"/>
      </a:defRPr>
    </a:lvl3pPr>
    <a:lvl4pPr marL="1371600" algn="l" rtl="0" eaLnBrk="0" fontAlgn="base" hangingPunct="0">
      <a:spcBef>
        <a:spcPct val="0"/>
      </a:spcBef>
      <a:spcAft>
        <a:spcPct val="0"/>
      </a:spcAft>
      <a:defRPr sz="2200" kern="1200">
        <a:solidFill>
          <a:schemeClr val="tx1"/>
        </a:solidFill>
        <a:latin typeface="Georgia" pitchFamily="18" charset="0"/>
        <a:ea typeface="+mn-ea"/>
        <a:cs typeface="+mn-cs"/>
      </a:defRPr>
    </a:lvl4pPr>
    <a:lvl5pPr marL="1828800" algn="l" rtl="0" eaLnBrk="0" fontAlgn="base" hangingPunct="0">
      <a:spcBef>
        <a:spcPct val="0"/>
      </a:spcBef>
      <a:spcAft>
        <a:spcPct val="0"/>
      </a:spcAft>
      <a:defRPr sz="2200" kern="1200">
        <a:solidFill>
          <a:schemeClr val="tx1"/>
        </a:solidFill>
        <a:latin typeface="Georgia" pitchFamily="18" charset="0"/>
        <a:ea typeface="+mn-ea"/>
        <a:cs typeface="+mn-cs"/>
      </a:defRPr>
    </a:lvl5pPr>
    <a:lvl6pPr marL="2286000" algn="l" defTabSz="914400" rtl="0" eaLnBrk="1" latinLnBrk="0" hangingPunct="1">
      <a:defRPr sz="2200" kern="1200">
        <a:solidFill>
          <a:schemeClr val="tx1"/>
        </a:solidFill>
        <a:latin typeface="Georgia" pitchFamily="18" charset="0"/>
        <a:ea typeface="+mn-ea"/>
        <a:cs typeface="+mn-cs"/>
      </a:defRPr>
    </a:lvl6pPr>
    <a:lvl7pPr marL="2743200" algn="l" defTabSz="914400" rtl="0" eaLnBrk="1" latinLnBrk="0" hangingPunct="1">
      <a:defRPr sz="2200" kern="1200">
        <a:solidFill>
          <a:schemeClr val="tx1"/>
        </a:solidFill>
        <a:latin typeface="Georgia" pitchFamily="18" charset="0"/>
        <a:ea typeface="+mn-ea"/>
        <a:cs typeface="+mn-cs"/>
      </a:defRPr>
    </a:lvl7pPr>
    <a:lvl8pPr marL="3200400" algn="l" defTabSz="914400" rtl="0" eaLnBrk="1" latinLnBrk="0" hangingPunct="1">
      <a:defRPr sz="2200" kern="1200">
        <a:solidFill>
          <a:schemeClr val="tx1"/>
        </a:solidFill>
        <a:latin typeface="Georgia" pitchFamily="18" charset="0"/>
        <a:ea typeface="+mn-ea"/>
        <a:cs typeface="+mn-cs"/>
      </a:defRPr>
    </a:lvl8pPr>
    <a:lvl9pPr marL="3657600" algn="l" defTabSz="914400" rtl="0" eaLnBrk="1" latinLnBrk="0" hangingPunct="1">
      <a:defRPr sz="2200" kern="1200">
        <a:solidFill>
          <a:schemeClr val="tx1"/>
        </a:solidFill>
        <a:latin typeface="Georgia" pitchFamily="18" charset="0"/>
        <a:ea typeface="+mn-ea"/>
        <a:cs typeface="+mn-cs"/>
      </a:defRPr>
    </a:lvl9pPr>
  </p:defaultTextStyle>
  <p:extLst>
    <p:ext uri="{EFAFB233-063F-42B5-8137-9DF3F51BA10A}">
      <p15:sldGuideLst xmlns:p15="http://schemas.microsoft.com/office/powerpoint/2012/main">
        <p15:guide id="1" orient="horz" pos="2448">
          <p15:clr>
            <a:srgbClr val="A4A3A4"/>
          </p15:clr>
        </p15:guide>
        <p15:guide id="2" orient="horz" pos="768">
          <p15:clr>
            <a:srgbClr val="A4A3A4"/>
          </p15:clr>
        </p15:guide>
        <p15:guide id="3" orient="horz" pos="4158">
          <p15:clr>
            <a:srgbClr val="A4A3A4"/>
          </p15:clr>
        </p15:guide>
        <p15:guide id="4" orient="horz" pos="4320">
          <p15:clr>
            <a:srgbClr val="A4A3A4"/>
          </p15:clr>
        </p15:guide>
        <p15:guide id="5" pos="288">
          <p15:clr>
            <a:srgbClr val="A4A3A4"/>
          </p15:clr>
        </p15:guide>
        <p15:guide id="6" pos="6048">
          <p15:clr>
            <a:srgbClr val="A4A3A4"/>
          </p15:clr>
        </p15:guide>
        <p15:guide id="7" pos="3168">
          <p15:clr>
            <a:srgbClr val="A4A3A4"/>
          </p15:clr>
        </p15:guide>
        <p15:guide id="8" pos="1728">
          <p15:clr>
            <a:srgbClr val="A4A3A4"/>
          </p15:clr>
        </p15:guide>
        <p15:guide id="9" pos="4608">
          <p15:clr>
            <a:srgbClr val="A4A3A4"/>
          </p15:clr>
        </p15:guide>
      </p15:sldGuideLst>
    </p:ext>
    <p:ext uri="{2D200454-40CA-4A62-9FC3-DE9A4176ACB9}">
      <p15:notesGuideLst xmlns:p15="http://schemas.microsoft.com/office/powerpoint/2012/main">
        <p15:guide id="1" orient="horz" pos="2924">
          <p15:clr>
            <a:srgbClr val="A4A3A4"/>
          </p15:clr>
        </p15:guide>
        <p15:guide id="2" pos="2200">
          <p15:clr>
            <a:srgbClr val="A4A3A4"/>
          </p15:clr>
        </p15:guide>
        <p15:guide id="3" orient="horz" pos="2904">
          <p15:clr>
            <a:srgbClr val="A4A3A4"/>
          </p15:clr>
        </p15:guide>
        <p15:guide id="4" pos="218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exis Wesley" initials="AW" lastIdx="14" clrIdx="0"/>
  <p:cmAuthor id="7" name="Picher, Caroline" initials="PC" lastIdx="10" clrIdx="7"/>
  <p:cmAuthor id="1" name="Manatt" initials="MH" lastIdx="38" clrIdx="1"/>
  <p:cmAuthor id="8" name="Hemi Tewarson" initials="HT" lastIdx="15" clrIdx="8"/>
  <p:cmAuthor id="2" name="Manatt" initials="MHS" lastIdx="39" clrIdx="2"/>
  <p:cmAuthor id="9" name="Manatt Health" initials="MHS" lastIdx="15" clrIdx="9"/>
  <p:cmAuthor id="3" name="Manatt Health" initials="MH" lastIdx="7" clrIdx="3"/>
  <p:cmAuthor id="4" name="Elizabeth Dervan" initials="EED" lastIdx="18" clrIdx="4"/>
  <p:cmAuthor id="5" name="Cindy Mann" initials="CM" lastIdx="9" clrIdx="5"/>
  <p:cmAuthor id="6" name="Cindy Mann" initials="" lastIdx="4" clrIdx="6"/>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C5E66"/>
    <a:srgbClr val="C50084"/>
    <a:srgbClr val="FEC4CE"/>
    <a:srgbClr val="0039A6"/>
    <a:srgbClr val="80379B"/>
    <a:srgbClr val="2D2887"/>
    <a:srgbClr val="FA6F00"/>
    <a:srgbClr val="7AB800"/>
    <a:srgbClr val="E47F2D"/>
    <a:srgbClr val="00A8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667" autoAdjust="0"/>
    <p:restoredTop sz="89139" autoAdjust="0"/>
  </p:normalViewPr>
  <p:slideViewPr>
    <p:cSldViewPr snapToObjects="1">
      <p:cViewPr varScale="1">
        <p:scale>
          <a:sx n="63" d="100"/>
          <a:sy n="63" d="100"/>
        </p:scale>
        <p:origin x="1046" y="51"/>
      </p:cViewPr>
      <p:guideLst>
        <p:guide orient="horz" pos="2448"/>
        <p:guide orient="horz" pos="768"/>
        <p:guide orient="horz" pos="4158"/>
        <p:guide orient="horz" pos="4320"/>
        <p:guide pos="288"/>
        <p:guide pos="6048"/>
        <p:guide pos="3168"/>
        <p:guide pos="1728"/>
        <p:guide pos="4608"/>
      </p:guideLst>
    </p:cSldViewPr>
  </p:slideViewPr>
  <p:outlineViewPr>
    <p:cViewPr>
      <p:scale>
        <a:sx n="33" d="100"/>
        <a:sy n="33" d="100"/>
      </p:scale>
      <p:origin x="48" y="3672"/>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p:scale>
          <a:sx n="100" d="100"/>
          <a:sy n="100" d="100"/>
        </p:scale>
        <p:origin x="-1854" y="84"/>
      </p:cViewPr>
      <p:guideLst>
        <p:guide orient="horz" pos="2924"/>
        <p:guide pos="2200"/>
        <p:guide orient="horz" pos="2904"/>
        <p:guide pos="218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D0D810A-461B-43AB-9074-9E97C0408D20}" type="doc">
      <dgm:prSet loTypeId="urn:microsoft.com/office/officeart/2009/3/layout/HorizontalOrganizationChart" loCatId="hierarchy" qsTypeId="urn:microsoft.com/office/officeart/2005/8/quickstyle/simple1" qsCatId="simple" csTypeId="urn:microsoft.com/office/officeart/2005/8/colors/accent2_2" csCatId="accent2" phldr="1"/>
      <dgm:spPr/>
      <dgm:t>
        <a:bodyPr/>
        <a:lstStyle/>
        <a:p>
          <a:endParaRPr lang="en-US"/>
        </a:p>
      </dgm:t>
    </dgm:pt>
    <dgm:pt modelId="{08EED27D-B691-455A-8D11-8D4400592106}">
      <dgm:prSet phldrT="[Text]" custT="1"/>
      <dgm:spPr>
        <a:solidFill>
          <a:schemeClr val="bg2">
            <a:lumMod val="75000"/>
          </a:schemeClr>
        </a:solidFill>
        <a:ln>
          <a:noFill/>
        </a:ln>
      </dgm:spPr>
      <dgm:t>
        <a:bodyPr/>
        <a:lstStyle/>
        <a:p>
          <a:r>
            <a:rPr lang="en-US" sz="1100" b="1" dirty="0">
              <a:solidFill>
                <a:schemeClr val="bg1"/>
              </a:solidFill>
            </a:rPr>
            <a:t>Approved</a:t>
          </a:r>
        </a:p>
      </dgm:t>
    </dgm:pt>
    <dgm:pt modelId="{1BD718C0-8E31-4C02-8936-3DC9E7EB711A}" type="parTrans" cxnId="{A3225DBE-FBF4-4CA6-9910-43E74A7EDDCD}">
      <dgm:prSet/>
      <dgm:spPr/>
      <dgm:t>
        <a:bodyPr/>
        <a:lstStyle/>
        <a:p>
          <a:endParaRPr lang="en-US" sz="1100" b="1"/>
        </a:p>
      </dgm:t>
    </dgm:pt>
    <dgm:pt modelId="{7B5F34EC-77F8-4B43-BB2C-33BBF5B01984}" type="sibTrans" cxnId="{A3225DBE-FBF4-4CA6-9910-43E74A7EDDCD}">
      <dgm:prSet/>
      <dgm:spPr/>
      <dgm:t>
        <a:bodyPr/>
        <a:lstStyle/>
        <a:p>
          <a:endParaRPr lang="en-US" sz="1100" b="1"/>
        </a:p>
      </dgm:t>
    </dgm:pt>
    <dgm:pt modelId="{A0160691-C5F9-44B8-9B17-16C16C30252D}">
      <dgm:prSet phldrT="[Text]" custT="1"/>
      <dgm:spPr>
        <a:solidFill>
          <a:schemeClr val="bg2">
            <a:lumMod val="75000"/>
          </a:schemeClr>
        </a:solidFill>
        <a:ln>
          <a:noFill/>
        </a:ln>
      </dgm:spPr>
      <dgm:t>
        <a:bodyPr/>
        <a:lstStyle/>
        <a:p>
          <a:r>
            <a:rPr lang="en-US" sz="1100" b="1" dirty="0">
              <a:solidFill>
                <a:schemeClr val="bg1"/>
              </a:solidFill>
            </a:rPr>
            <a:t>Denied</a:t>
          </a:r>
        </a:p>
      </dgm:t>
    </dgm:pt>
    <dgm:pt modelId="{7C1C211D-DF08-4FA2-A593-3F78C8D74D1E}" type="parTrans" cxnId="{D66B2423-EA40-4AD3-8D39-8A788F41731C}">
      <dgm:prSet/>
      <dgm:spPr/>
      <dgm:t>
        <a:bodyPr/>
        <a:lstStyle/>
        <a:p>
          <a:endParaRPr lang="en-US" sz="1100" b="1"/>
        </a:p>
      </dgm:t>
    </dgm:pt>
    <dgm:pt modelId="{7CA754DD-BCA3-484D-948A-4898820E12A5}" type="sibTrans" cxnId="{D66B2423-EA40-4AD3-8D39-8A788F41731C}">
      <dgm:prSet/>
      <dgm:spPr/>
      <dgm:t>
        <a:bodyPr/>
        <a:lstStyle/>
        <a:p>
          <a:endParaRPr lang="en-US" sz="1100" b="1"/>
        </a:p>
      </dgm:t>
    </dgm:pt>
    <dgm:pt modelId="{500D8E4F-2815-497E-8509-B9D2A67FB7E0}">
      <dgm:prSet phldrT="[Text]" custT="1"/>
      <dgm:spPr>
        <a:solidFill>
          <a:schemeClr val="bg2">
            <a:lumMod val="75000"/>
          </a:schemeClr>
        </a:solidFill>
      </dgm:spPr>
      <dgm:t>
        <a:bodyPr/>
        <a:lstStyle/>
        <a:p>
          <a:r>
            <a:rPr lang="en-US" sz="1100" b="1" dirty="0"/>
            <a:t>1332 waiver</a:t>
          </a:r>
        </a:p>
      </dgm:t>
    </dgm:pt>
    <dgm:pt modelId="{43584BFA-CFB5-402E-9085-ECF8ABFDD67E}" type="sibTrans" cxnId="{2EABA069-EC12-4D06-907B-90EA5D7C99D2}">
      <dgm:prSet/>
      <dgm:spPr/>
      <dgm:t>
        <a:bodyPr/>
        <a:lstStyle/>
        <a:p>
          <a:endParaRPr lang="en-US" sz="1100" b="1"/>
        </a:p>
      </dgm:t>
    </dgm:pt>
    <dgm:pt modelId="{EAD223CF-F517-4779-8EB8-8AE1D099BB36}" type="parTrans" cxnId="{2EABA069-EC12-4D06-907B-90EA5D7C99D2}">
      <dgm:prSet/>
      <dgm:spPr/>
      <dgm:t>
        <a:bodyPr/>
        <a:lstStyle/>
        <a:p>
          <a:endParaRPr lang="en-US" sz="1100" b="1"/>
        </a:p>
      </dgm:t>
    </dgm:pt>
    <dgm:pt modelId="{FD7FAD90-BB4B-4012-8D13-9F856976AA67}">
      <dgm:prSet custT="1"/>
      <dgm:spPr>
        <a:solidFill>
          <a:schemeClr val="bg2">
            <a:lumMod val="75000"/>
          </a:schemeClr>
        </a:solidFill>
      </dgm:spPr>
      <dgm:t>
        <a:bodyPr/>
        <a:lstStyle/>
        <a:p>
          <a:r>
            <a:rPr lang="en-US" sz="1100" b="1" dirty="0"/>
            <a:t>1115 waiver</a:t>
          </a:r>
        </a:p>
      </dgm:t>
    </dgm:pt>
    <dgm:pt modelId="{630DAAD5-A305-4EBB-9899-24FE19ECCAEA}" type="parTrans" cxnId="{7942EEFD-1053-428D-A22D-A2E6A5CEC71F}">
      <dgm:prSet/>
      <dgm:spPr/>
      <dgm:t>
        <a:bodyPr/>
        <a:lstStyle/>
        <a:p>
          <a:endParaRPr lang="en-US" sz="1100" b="1"/>
        </a:p>
      </dgm:t>
    </dgm:pt>
    <dgm:pt modelId="{EA0BA6A4-443D-48A6-B406-9AD78CBBC07A}" type="sibTrans" cxnId="{7942EEFD-1053-428D-A22D-A2E6A5CEC71F}">
      <dgm:prSet/>
      <dgm:spPr/>
      <dgm:t>
        <a:bodyPr/>
        <a:lstStyle/>
        <a:p>
          <a:endParaRPr lang="en-US" sz="1100" b="1"/>
        </a:p>
      </dgm:t>
    </dgm:pt>
    <dgm:pt modelId="{647BA657-2C44-4DD3-ACA8-DB860AD60348}">
      <dgm:prSet custT="1"/>
      <dgm:spPr>
        <a:solidFill>
          <a:schemeClr val="bg2">
            <a:lumMod val="75000"/>
          </a:schemeClr>
        </a:solidFill>
        <a:ln>
          <a:noFill/>
        </a:ln>
      </dgm:spPr>
      <dgm:t>
        <a:bodyPr/>
        <a:lstStyle/>
        <a:p>
          <a:r>
            <a:rPr lang="en-US" sz="1100" b="1" dirty="0">
              <a:solidFill>
                <a:schemeClr val="bg1"/>
              </a:solidFill>
            </a:rPr>
            <a:t>Approved</a:t>
          </a:r>
        </a:p>
      </dgm:t>
    </dgm:pt>
    <dgm:pt modelId="{5BF516B1-813F-41C9-B29A-1A99CE7BE9CC}" type="parTrans" cxnId="{E6A73597-7E1B-45F4-87F8-639B060EE5F9}">
      <dgm:prSet/>
      <dgm:spPr/>
      <dgm:t>
        <a:bodyPr/>
        <a:lstStyle/>
        <a:p>
          <a:endParaRPr lang="en-US" sz="1100" b="1"/>
        </a:p>
      </dgm:t>
    </dgm:pt>
    <dgm:pt modelId="{D87B230C-DCDD-42AB-A435-F5D9D16B1A65}" type="sibTrans" cxnId="{E6A73597-7E1B-45F4-87F8-639B060EE5F9}">
      <dgm:prSet/>
      <dgm:spPr/>
      <dgm:t>
        <a:bodyPr/>
        <a:lstStyle/>
        <a:p>
          <a:endParaRPr lang="en-US" sz="1100" b="1"/>
        </a:p>
      </dgm:t>
    </dgm:pt>
    <dgm:pt modelId="{6FFBC465-9B1A-4A44-BE49-AFB992EC210B}">
      <dgm:prSet custT="1"/>
      <dgm:spPr>
        <a:solidFill>
          <a:schemeClr val="bg2">
            <a:lumMod val="75000"/>
          </a:schemeClr>
        </a:solidFill>
        <a:ln>
          <a:noFill/>
        </a:ln>
      </dgm:spPr>
      <dgm:t>
        <a:bodyPr/>
        <a:lstStyle/>
        <a:p>
          <a:r>
            <a:rPr lang="en-US" sz="1100" b="1" dirty="0">
              <a:solidFill>
                <a:schemeClr val="bg1"/>
              </a:solidFill>
            </a:rPr>
            <a:t>Denied</a:t>
          </a:r>
        </a:p>
      </dgm:t>
    </dgm:pt>
    <dgm:pt modelId="{0FDA490F-0494-4FB5-81EC-714B51D3B996}" type="parTrans" cxnId="{0334A876-BD77-4241-B64A-318B24FCFBD7}">
      <dgm:prSet/>
      <dgm:spPr/>
      <dgm:t>
        <a:bodyPr/>
        <a:lstStyle/>
        <a:p>
          <a:endParaRPr lang="en-US" sz="1100" b="1"/>
        </a:p>
      </dgm:t>
    </dgm:pt>
    <dgm:pt modelId="{FA077E5F-40AE-488D-A0A2-3F722A5D63AC}" type="sibTrans" cxnId="{0334A876-BD77-4241-B64A-318B24FCFBD7}">
      <dgm:prSet/>
      <dgm:spPr/>
      <dgm:t>
        <a:bodyPr/>
        <a:lstStyle/>
        <a:p>
          <a:endParaRPr lang="en-US" sz="1100" b="1"/>
        </a:p>
      </dgm:t>
    </dgm:pt>
    <dgm:pt modelId="{7B5656C3-7C05-40A5-9696-04E748223089}">
      <dgm:prSet custT="1"/>
      <dgm:spPr>
        <a:solidFill>
          <a:schemeClr val="bg2">
            <a:lumMod val="75000"/>
          </a:schemeClr>
        </a:solidFill>
        <a:ln>
          <a:noFill/>
        </a:ln>
      </dgm:spPr>
      <dgm:t>
        <a:bodyPr/>
        <a:lstStyle/>
        <a:p>
          <a:r>
            <a:rPr lang="en-US" sz="1100" b="1" dirty="0">
              <a:solidFill>
                <a:schemeClr val="bg1"/>
              </a:solidFill>
            </a:rPr>
            <a:t>Delay*</a:t>
          </a:r>
        </a:p>
      </dgm:t>
    </dgm:pt>
    <dgm:pt modelId="{42E17C05-21F0-41B4-B54B-D4B800F4CFDE}" type="parTrans" cxnId="{886B99FE-F954-4514-921D-F760C48E74D9}">
      <dgm:prSet/>
      <dgm:spPr/>
      <dgm:t>
        <a:bodyPr/>
        <a:lstStyle/>
        <a:p>
          <a:endParaRPr lang="en-US" sz="1100" b="1"/>
        </a:p>
      </dgm:t>
    </dgm:pt>
    <dgm:pt modelId="{616C326C-4709-4B48-8294-E5BAFAB16CAC}" type="sibTrans" cxnId="{886B99FE-F954-4514-921D-F760C48E74D9}">
      <dgm:prSet/>
      <dgm:spPr/>
      <dgm:t>
        <a:bodyPr/>
        <a:lstStyle/>
        <a:p>
          <a:endParaRPr lang="en-US" sz="1100" b="1"/>
        </a:p>
      </dgm:t>
    </dgm:pt>
    <dgm:pt modelId="{5AF7821A-E4E4-49F2-8CDD-D8E21E18D6E7}" type="pres">
      <dgm:prSet presAssocID="{DD0D810A-461B-43AB-9074-9E97C0408D20}" presName="hierChild1" presStyleCnt="0">
        <dgm:presLayoutVars>
          <dgm:orgChart val="1"/>
          <dgm:chPref val="1"/>
          <dgm:dir/>
          <dgm:animOne val="branch"/>
          <dgm:animLvl val="lvl"/>
          <dgm:resizeHandles/>
        </dgm:presLayoutVars>
      </dgm:prSet>
      <dgm:spPr/>
    </dgm:pt>
    <dgm:pt modelId="{1EC5381C-7822-454D-89B8-C196606F0848}" type="pres">
      <dgm:prSet presAssocID="{FD7FAD90-BB4B-4012-8D13-9F856976AA67}" presName="hierRoot1" presStyleCnt="0">
        <dgm:presLayoutVars>
          <dgm:hierBranch val="init"/>
        </dgm:presLayoutVars>
      </dgm:prSet>
      <dgm:spPr/>
    </dgm:pt>
    <dgm:pt modelId="{BE4C360D-0695-4556-A8BB-D8E0AAE0D712}" type="pres">
      <dgm:prSet presAssocID="{FD7FAD90-BB4B-4012-8D13-9F856976AA67}" presName="rootComposite1" presStyleCnt="0"/>
      <dgm:spPr/>
    </dgm:pt>
    <dgm:pt modelId="{68BD075B-C694-4A97-8ECA-96FB005080EE}" type="pres">
      <dgm:prSet presAssocID="{FD7FAD90-BB4B-4012-8D13-9F856976AA67}" presName="rootText1" presStyleLbl="node0" presStyleIdx="0" presStyleCnt="2">
        <dgm:presLayoutVars>
          <dgm:chPref val="3"/>
        </dgm:presLayoutVars>
      </dgm:prSet>
      <dgm:spPr>
        <a:prstGeom prst="roundRect">
          <a:avLst/>
        </a:prstGeom>
      </dgm:spPr>
    </dgm:pt>
    <dgm:pt modelId="{EBF8284A-7FED-45F6-9524-71BE7355EC57}" type="pres">
      <dgm:prSet presAssocID="{FD7FAD90-BB4B-4012-8D13-9F856976AA67}" presName="rootConnector1" presStyleLbl="node1" presStyleIdx="0" presStyleCnt="0"/>
      <dgm:spPr/>
    </dgm:pt>
    <dgm:pt modelId="{87C96744-C259-4D12-9095-009A82984DE0}" type="pres">
      <dgm:prSet presAssocID="{FD7FAD90-BB4B-4012-8D13-9F856976AA67}" presName="hierChild2" presStyleCnt="0"/>
      <dgm:spPr/>
    </dgm:pt>
    <dgm:pt modelId="{D513CCCA-A47C-4137-B853-1AC1B040171A}" type="pres">
      <dgm:prSet presAssocID="{5BF516B1-813F-41C9-B29A-1A99CE7BE9CC}" presName="Name64" presStyleLbl="parChTrans1D2" presStyleIdx="0" presStyleCnt="5"/>
      <dgm:spPr/>
    </dgm:pt>
    <dgm:pt modelId="{C4117772-9668-45F4-A79C-56F34488F87A}" type="pres">
      <dgm:prSet presAssocID="{647BA657-2C44-4DD3-ACA8-DB860AD60348}" presName="hierRoot2" presStyleCnt="0">
        <dgm:presLayoutVars>
          <dgm:hierBranch val="init"/>
        </dgm:presLayoutVars>
      </dgm:prSet>
      <dgm:spPr/>
    </dgm:pt>
    <dgm:pt modelId="{8DFCA2D4-EC70-43E4-97D7-88067026677E}" type="pres">
      <dgm:prSet presAssocID="{647BA657-2C44-4DD3-ACA8-DB860AD60348}" presName="rootComposite" presStyleCnt="0"/>
      <dgm:spPr/>
    </dgm:pt>
    <dgm:pt modelId="{286FD8F5-9FB7-4A8F-BCB6-CD474CCCD646}" type="pres">
      <dgm:prSet presAssocID="{647BA657-2C44-4DD3-ACA8-DB860AD60348}" presName="rootText" presStyleLbl="node2" presStyleIdx="0" presStyleCnt="5" custScaleY="96043">
        <dgm:presLayoutVars>
          <dgm:chPref val="3"/>
        </dgm:presLayoutVars>
      </dgm:prSet>
      <dgm:spPr>
        <a:prstGeom prst="ellipse">
          <a:avLst/>
        </a:prstGeom>
      </dgm:spPr>
    </dgm:pt>
    <dgm:pt modelId="{EE1A2CE2-8C85-4DC2-B5C2-6FF3F3388EC6}" type="pres">
      <dgm:prSet presAssocID="{647BA657-2C44-4DD3-ACA8-DB860AD60348}" presName="rootConnector" presStyleLbl="node2" presStyleIdx="0" presStyleCnt="5"/>
      <dgm:spPr/>
    </dgm:pt>
    <dgm:pt modelId="{64CC68AB-3381-45E3-9906-AD39CBFF3001}" type="pres">
      <dgm:prSet presAssocID="{647BA657-2C44-4DD3-ACA8-DB860AD60348}" presName="hierChild4" presStyleCnt="0"/>
      <dgm:spPr/>
    </dgm:pt>
    <dgm:pt modelId="{C943301C-5654-414D-82B4-88F40075513C}" type="pres">
      <dgm:prSet presAssocID="{647BA657-2C44-4DD3-ACA8-DB860AD60348}" presName="hierChild5" presStyleCnt="0"/>
      <dgm:spPr/>
    </dgm:pt>
    <dgm:pt modelId="{FDC25BEF-5C83-4CFB-83AF-E6EDFD491A94}" type="pres">
      <dgm:prSet presAssocID="{0FDA490F-0494-4FB5-81EC-714B51D3B996}" presName="Name64" presStyleLbl="parChTrans1D2" presStyleIdx="1" presStyleCnt="5"/>
      <dgm:spPr/>
    </dgm:pt>
    <dgm:pt modelId="{488E5521-A948-40E4-A340-019861CC9099}" type="pres">
      <dgm:prSet presAssocID="{6FFBC465-9B1A-4A44-BE49-AFB992EC210B}" presName="hierRoot2" presStyleCnt="0">
        <dgm:presLayoutVars>
          <dgm:hierBranch val="init"/>
        </dgm:presLayoutVars>
      </dgm:prSet>
      <dgm:spPr/>
    </dgm:pt>
    <dgm:pt modelId="{11BC0E0E-96AB-4EE8-A552-4CE6A3643D05}" type="pres">
      <dgm:prSet presAssocID="{6FFBC465-9B1A-4A44-BE49-AFB992EC210B}" presName="rootComposite" presStyleCnt="0"/>
      <dgm:spPr/>
    </dgm:pt>
    <dgm:pt modelId="{457852C2-B9FC-4EB8-88BF-68AA537E0DFB}" type="pres">
      <dgm:prSet presAssocID="{6FFBC465-9B1A-4A44-BE49-AFB992EC210B}" presName="rootText" presStyleLbl="node2" presStyleIdx="1" presStyleCnt="5" custScaleY="96043">
        <dgm:presLayoutVars>
          <dgm:chPref val="3"/>
        </dgm:presLayoutVars>
      </dgm:prSet>
      <dgm:spPr>
        <a:prstGeom prst="ellipse">
          <a:avLst/>
        </a:prstGeom>
      </dgm:spPr>
    </dgm:pt>
    <dgm:pt modelId="{97F97EFA-2719-4B7C-8A12-4D9EAC9877E3}" type="pres">
      <dgm:prSet presAssocID="{6FFBC465-9B1A-4A44-BE49-AFB992EC210B}" presName="rootConnector" presStyleLbl="node2" presStyleIdx="1" presStyleCnt="5"/>
      <dgm:spPr/>
    </dgm:pt>
    <dgm:pt modelId="{94BD17DB-F00F-4D96-B365-DE63979CCFE4}" type="pres">
      <dgm:prSet presAssocID="{6FFBC465-9B1A-4A44-BE49-AFB992EC210B}" presName="hierChild4" presStyleCnt="0"/>
      <dgm:spPr/>
    </dgm:pt>
    <dgm:pt modelId="{67460F10-13FE-4A49-B241-6A9072ADEA35}" type="pres">
      <dgm:prSet presAssocID="{6FFBC465-9B1A-4A44-BE49-AFB992EC210B}" presName="hierChild5" presStyleCnt="0"/>
      <dgm:spPr/>
    </dgm:pt>
    <dgm:pt modelId="{F67CE4BB-3745-47AB-B95A-714BC82C109F}" type="pres">
      <dgm:prSet presAssocID="{42E17C05-21F0-41B4-B54B-D4B800F4CFDE}" presName="Name64" presStyleLbl="parChTrans1D2" presStyleIdx="2" presStyleCnt="5"/>
      <dgm:spPr/>
    </dgm:pt>
    <dgm:pt modelId="{4E8A01CF-C0C6-4E7D-912E-93E9B28CB6C6}" type="pres">
      <dgm:prSet presAssocID="{7B5656C3-7C05-40A5-9696-04E748223089}" presName="hierRoot2" presStyleCnt="0">
        <dgm:presLayoutVars>
          <dgm:hierBranch val="init"/>
        </dgm:presLayoutVars>
      </dgm:prSet>
      <dgm:spPr/>
    </dgm:pt>
    <dgm:pt modelId="{1C9C5E79-8F42-4F62-ACAC-2BF7672A9151}" type="pres">
      <dgm:prSet presAssocID="{7B5656C3-7C05-40A5-9696-04E748223089}" presName="rootComposite" presStyleCnt="0"/>
      <dgm:spPr/>
    </dgm:pt>
    <dgm:pt modelId="{F2D44061-3F54-46D3-B092-124DCE2E8121}" type="pres">
      <dgm:prSet presAssocID="{7B5656C3-7C05-40A5-9696-04E748223089}" presName="rootText" presStyleLbl="node2" presStyleIdx="2" presStyleCnt="5" custScaleY="96043">
        <dgm:presLayoutVars>
          <dgm:chPref val="3"/>
        </dgm:presLayoutVars>
      </dgm:prSet>
      <dgm:spPr>
        <a:prstGeom prst="ellipse">
          <a:avLst/>
        </a:prstGeom>
      </dgm:spPr>
    </dgm:pt>
    <dgm:pt modelId="{4641AED7-81EE-4C53-85BC-B06D989B5298}" type="pres">
      <dgm:prSet presAssocID="{7B5656C3-7C05-40A5-9696-04E748223089}" presName="rootConnector" presStyleLbl="node2" presStyleIdx="2" presStyleCnt="5"/>
      <dgm:spPr/>
    </dgm:pt>
    <dgm:pt modelId="{64F6B278-DE5B-4C60-8010-3BC18042AE4A}" type="pres">
      <dgm:prSet presAssocID="{7B5656C3-7C05-40A5-9696-04E748223089}" presName="hierChild4" presStyleCnt="0"/>
      <dgm:spPr/>
    </dgm:pt>
    <dgm:pt modelId="{93D1D8A8-58B4-4DD7-97B2-8F65889E7488}" type="pres">
      <dgm:prSet presAssocID="{7B5656C3-7C05-40A5-9696-04E748223089}" presName="hierChild5" presStyleCnt="0"/>
      <dgm:spPr/>
    </dgm:pt>
    <dgm:pt modelId="{C164E9D4-E4CB-4563-AFBC-C1531A74DD65}" type="pres">
      <dgm:prSet presAssocID="{FD7FAD90-BB4B-4012-8D13-9F856976AA67}" presName="hierChild3" presStyleCnt="0"/>
      <dgm:spPr/>
    </dgm:pt>
    <dgm:pt modelId="{37F4E887-9AB5-4A1B-8AB7-17A4FB4763A2}" type="pres">
      <dgm:prSet presAssocID="{500D8E4F-2815-497E-8509-B9D2A67FB7E0}" presName="hierRoot1" presStyleCnt="0">
        <dgm:presLayoutVars>
          <dgm:hierBranch val="init"/>
        </dgm:presLayoutVars>
      </dgm:prSet>
      <dgm:spPr/>
    </dgm:pt>
    <dgm:pt modelId="{1EB84C42-2042-405B-ABF4-B84C590152FD}" type="pres">
      <dgm:prSet presAssocID="{500D8E4F-2815-497E-8509-B9D2A67FB7E0}" presName="rootComposite1" presStyleCnt="0"/>
      <dgm:spPr/>
    </dgm:pt>
    <dgm:pt modelId="{7C97E42F-1B16-46A9-9A74-EEA8016BCEF7}" type="pres">
      <dgm:prSet presAssocID="{500D8E4F-2815-497E-8509-B9D2A67FB7E0}" presName="rootText1" presStyleLbl="node0" presStyleIdx="1" presStyleCnt="2">
        <dgm:presLayoutVars>
          <dgm:chPref val="3"/>
        </dgm:presLayoutVars>
      </dgm:prSet>
      <dgm:spPr>
        <a:prstGeom prst="roundRect">
          <a:avLst/>
        </a:prstGeom>
      </dgm:spPr>
    </dgm:pt>
    <dgm:pt modelId="{1BD0D4E9-0148-42E6-ABF9-A9ADB864F0E4}" type="pres">
      <dgm:prSet presAssocID="{500D8E4F-2815-497E-8509-B9D2A67FB7E0}" presName="rootConnector1" presStyleLbl="node1" presStyleIdx="0" presStyleCnt="0"/>
      <dgm:spPr/>
    </dgm:pt>
    <dgm:pt modelId="{E94F53F7-97C9-4733-BF76-7FA0EC78946E}" type="pres">
      <dgm:prSet presAssocID="{500D8E4F-2815-497E-8509-B9D2A67FB7E0}" presName="hierChild2" presStyleCnt="0"/>
      <dgm:spPr/>
    </dgm:pt>
    <dgm:pt modelId="{B424F5A6-E31E-4538-B20B-89CB9CA6EB53}" type="pres">
      <dgm:prSet presAssocID="{1BD718C0-8E31-4C02-8936-3DC9E7EB711A}" presName="Name64" presStyleLbl="parChTrans1D2" presStyleIdx="3" presStyleCnt="5"/>
      <dgm:spPr/>
    </dgm:pt>
    <dgm:pt modelId="{3A8DF9DB-2E77-4DAB-BC0B-B92EB1FF8BC5}" type="pres">
      <dgm:prSet presAssocID="{08EED27D-B691-455A-8D11-8D4400592106}" presName="hierRoot2" presStyleCnt="0">
        <dgm:presLayoutVars>
          <dgm:hierBranch val="init"/>
        </dgm:presLayoutVars>
      </dgm:prSet>
      <dgm:spPr/>
    </dgm:pt>
    <dgm:pt modelId="{4C41DFD4-F6DF-4612-830C-2F909B3A1F5B}" type="pres">
      <dgm:prSet presAssocID="{08EED27D-B691-455A-8D11-8D4400592106}" presName="rootComposite" presStyleCnt="0"/>
      <dgm:spPr/>
    </dgm:pt>
    <dgm:pt modelId="{F7B5F65C-7F4E-4947-B4BA-38FBE2BE4761}" type="pres">
      <dgm:prSet presAssocID="{08EED27D-B691-455A-8D11-8D4400592106}" presName="rootText" presStyleLbl="node2" presStyleIdx="3" presStyleCnt="5" custScaleY="96043">
        <dgm:presLayoutVars>
          <dgm:chPref val="3"/>
        </dgm:presLayoutVars>
      </dgm:prSet>
      <dgm:spPr>
        <a:prstGeom prst="ellipse">
          <a:avLst/>
        </a:prstGeom>
      </dgm:spPr>
    </dgm:pt>
    <dgm:pt modelId="{732C192C-E27C-40C8-8819-4090783C1701}" type="pres">
      <dgm:prSet presAssocID="{08EED27D-B691-455A-8D11-8D4400592106}" presName="rootConnector" presStyleLbl="node2" presStyleIdx="3" presStyleCnt="5"/>
      <dgm:spPr/>
    </dgm:pt>
    <dgm:pt modelId="{948BF28F-AF9F-45A9-BA48-BBDF682A2667}" type="pres">
      <dgm:prSet presAssocID="{08EED27D-B691-455A-8D11-8D4400592106}" presName="hierChild4" presStyleCnt="0"/>
      <dgm:spPr/>
    </dgm:pt>
    <dgm:pt modelId="{C9D9FA34-D2C9-4FCE-A862-266806C57C43}" type="pres">
      <dgm:prSet presAssocID="{08EED27D-B691-455A-8D11-8D4400592106}" presName="hierChild5" presStyleCnt="0"/>
      <dgm:spPr/>
    </dgm:pt>
    <dgm:pt modelId="{45DB4F03-E258-4D63-8A62-5FF930F47F03}" type="pres">
      <dgm:prSet presAssocID="{7C1C211D-DF08-4FA2-A593-3F78C8D74D1E}" presName="Name64" presStyleLbl="parChTrans1D2" presStyleIdx="4" presStyleCnt="5"/>
      <dgm:spPr/>
    </dgm:pt>
    <dgm:pt modelId="{9266E2E1-1F1B-4F85-9C4F-6554D436EE45}" type="pres">
      <dgm:prSet presAssocID="{A0160691-C5F9-44B8-9B17-16C16C30252D}" presName="hierRoot2" presStyleCnt="0">
        <dgm:presLayoutVars>
          <dgm:hierBranch val="init"/>
        </dgm:presLayoutVars>
      </dgm:prSet>
      <dgm:spPr/>
    </dgm:pt>
    <dgm:pt modelId="{216C5E56-E98A-4B22-9642-30034A99DD26}" type="pres">
      <dgm:prSet presAssocID="{A0160691-C5F9-44B8-9B17-16C16C30252D}" presName="rootComposite" presStyleCnt="0"/>
      <dgm:spPr/>
    </dgm:pt>
    <dgm:pt modelId="{D6362239-05DD-421C-83F1-82D1BD0C2550}" type="pres">
      <dgm:prSet presAssocID="{A0160691-C5F9-44B8-9B17-16C16C30252D}" presName="rootText" presStyleLbl="node2" presStyleIdx="4" presStyleCnt="5" custScaleY="96043">
        <dgm:presLayoutVars>
          <dgm:chPref val="3"/>
        </dgm:presLayoutVars>
      </dgm:prSet>
      <dgm:spPr>
        <a:prstGeom prst="ellipse">
          <a:avLst/>
        </a:prstGeom>
      </dgm:spPr>
    </dgm:pt>
    <dgm:pt modelId="{F851179B-8172-4F3C-9D37-D3F7FB0EF475}" type="pres">
      <dgm:prSet presAssocID="{A0160691-C5F9-44B8-9B17-16C16C30252D}" presName="rootConnector" presStyleLbl="node2" presStyleIdx="4" presStyleCnt="5"/>
      <dgm:spPr/>
    </dgm:pt>
    <dgm:pt modelId="{0A8380AA-7806-4D64-9DD4-19FEC110BACA}" type="pres">
      <dgm:prSet presAssocID="{A0160691-C5F9-44B8-9B17-16C16C30252D}" presName="hierChild4" presStyleCnt="0"/>
      <dgm:spPr/>
    </dgm:pt>
    <dgm:pt modelId="{23C782FC-9ED0-4043-B330-7ACFA08C24C4}" type="pres">
      <dgm:prSet presAssocID="{A0160691-C5F9-44B8-9B17-16C16C30252D}" presName="hierChild5" presStyleCnt="0"/>
      <dgm:spPr/>
    </dgm:pt>
    <dgm:pt modelId="{471D85D6-706C-4286-9953-9A06F09429A9}" type="pres">
      <dgm:prSet presAssocID="{500D8E4F-2815-497E-8509-B9D2A67FB7E0}" presName="hierChild3" presStyleCnt="0"/>
      <dgm:spPr/>
    </dgm:pt>
  </dgm:ptLst>
  <dgm:cxnLst>
    <dgm:cxn modelId="{E621EE09-94A9-4088-A515-6DAAF4201AE8}" type="presOf" srcId="{647BA657-2C44-4DD3-ACA8-DB860AD60348}" destId="{286FD8F5-9FB7-4A8F-BCB6-CD474CCCD646}" srcOrd="0" destOrd="0" presId="urn:microsoft.com/office/officeart/2009/3/layout/HorizontalOrganizationChart"/>
    <dgm:cxn modelId="{A2C43B1E-F184-4261-8DE8-3C9FE725A634}" type="presOf" srcId="{08EED27D-B691-455A-8D11-8D4400592106}" destId="{F7B5F65C-7F4E-4947-B4BA-38FBE2BE4761}" srcOrd="0" destOrd="0" presId="urn:microsoft.com/office/officeart/2009/3/layout/HorizontalOrganizationChart"/>
    <dgm:cxn modelId="{D66B2423-EA40-4AD3-8D39-8A788F41731C}" srcId="{500D8E4F-2815-497E-8509-B9D2A67FB7E0}" destId="{A0160691-C5F9-44B8-9B17-16C16C30252D}" srcOrd="1" destOrd="0" parTransId="{7C1C211D-DF08-4FA2-A593-3F78C8D74D1E}" sibTransId="{7CA754DD-BCA3-484D-948A-4898820E12A5}"/>
    <dgm:cxn modelId="{8B162227-5F09-460D-BD64-7612E593599D}" type="presOf" srcId="{6FFBC465-9B1A-4A44-BE49-AFB992EC210B}" destId="{457852C2-B9FC-4EB8-88BF-68AA537E0DFB}" srcOrd="0" destOrd="0" presId="urn:microsoft.com/office/officeart/2009/3/layout/HorizontalOrganizationChart"/>
    <dgm:cxn modelId="{FEB0E72A-D229-4D4B-9D16-D2EA3C1DBAEC}" type="presOf" srcId="{5BF516B1-813F-41C9-B29A-1A99CE7BE9CC}" destId="{D513CCCA-A47C-4137-B853-1AC1B040171A}" srcOrd="0" destOrd="0" presId="urn:microsoft.com/office/officeart/2009/3/layout/HorizontalOrganizationChart"/>
    <dgm:cxn modelId="{A74B6D38-D66F-489C-8157-19E9C893930C}" type="presOf" srcId="{6FFBC465-9B1A-4A44-BE49-AFB992EC210B}" destId="{97F97EFA-2719-4B7C-8A12-4D9EAC9877E3}" srcOrd="1" destOrd="0" presId="urn:microsoft.com/office/officeart/2009/3/layout/HorizontalOrganizationChart"/>
    <dgm:cxn modelId="{B04EC360-6D29-42D5-9FC2-E9D14F60451E}" type="presOf" srcId="{0FDA490F-0494-4FB5-81EC-714B51D3B996}" destId="{FDC25BEF-5C83-4CFB-83AF-E6EDFD491A94}" srcOrd="0" destOrd="0" presId="urn:microsoft.com/office/officeart/2009/3/layout/HorizontalOrganizationChart"/>
    <dgm:cxn modelId="{1AAD6761-19C9-4E38-86DC-1882D306E81A}" type="presOf" srcId="{500D8E4F-2815-497E-8509-B9D2A67FB7E0}" destId="{1BD0D4E9-0148-42E6-ABF9-A9ADB864F0E4}" srcOrd="1" destOrd="0" presId="urn:microsoft.com/office/officeart/2009/3/layout/HorizontalOrganizationChart"/>
    <dgm:cxn modelId="{2EABA069-EC12-4D06-907B-90EA5D7C99D2}" srcId="{DD0D810A-461B-43AB-9074-9E97C0408D20}" destId="{500D8E4F-2815-497E-8509-B9D2A67FB7E0}" srcOrd="1" destOrd="0" parTransId="{EAD223CF-F517-4779-8EB8-8AE1D099BB36}" sibTransId="{43584BFA-CFB5-402E-9085-ECF8ABFDD67E}"/>
    <dgm:cxn modelId="{E5A13C6F-6DBE-4A1D-BB89-F597B4BCB81D}" type="presOf" srcId="{1BD718C0-8E31-4C02-8936-3DC9E7EB711A}" destId="{B424F5A6-E31E-4538-B20B-89CB9CA6EB53}" srcOrd="0" destOrd="0" presId="urn:microsoft.com/office/officeart/2009/3/layout/HorizontalOrganizationChart"/>
    <dgm:cxn modelId="{95E6F16F-34D0-4647-888D-1315A3954B88}" type="presOf" srcId="{FD7FAD90-BB4B-4012-8D13-9F856976AA67}" destId="{EBF8284A-7FED-45F6-9524-71BE7355EC57}" srcOrd="1" destOrd="0" presId="urn:microsoft.com/office/officeart/2009/3/layout/HorizontalOrganizationChart"/>
    <dgm:cxn modelId="{BDD40150-0B6F-44F2-8942-7D49E31E195C}" type="presOf" srcId="{7B5656C3-7C05-40A5-9696-04E748223089}" destId="{4641AED7-81EE-4C53-85BC-B06D989B5298}" srcOrd="1" destOrd="0" presId="urn:microsoft.com/office/officeart/2009/3/layout/HorizontalOrganizationChart"/>
    <dgm:cxn modelId="{7AE5CE75-6870-4BE8-B185-C76AB29D03F9}" type="presOf" srcId="{FD7FAD90-BB4B-4012-8D13-9F856976AA67}" destId="{68BD075B-C694-4A97-8ECA-96FB005080EE}" srcOrd="0" destOrd="0" presId="urn:microsoft.com/office/officeart/2009/3/layout/HorizontalOrganizationChart"/>
    <dgm:cxn modelId="{1BED0656-3AB9-48B1-9931-3073DFC1F67D}" type="presOf" srcId="{500D8E4F-2815-497E-8509-B9D2A67FB7E0}" destId="{7C97E42F-1B16-46A9-9A74-EEA8016BCEF7}" srcOrd="0" destOrd="0" presId="urn:microsoft.com/office/officeart/2009/3/layout/HorizontalOrganizationChart"/>
    <dgm:cxn modelId="{0334A876-BD77-4241-B64A-318B24FCFBD7}" srcId="{FD7FAD90-BB4B-4012-8D13-9F856976AA67}" destId="{6FFBC465-9B1A-4A44-BE49-AFB992EC210B}" srcOrd="1" destOrd="0" parTransId="{0FDA490F-0494-4FB5-81EC-714B51D3B996}" sibTransId="{FA077E5F-40AE-488D-A0A2-3F722A5D63AC}"/>
    <dgm:cxn modelId="{84AD9288-635D-4B41-A8C5-8DAADEDFD813}" type="presOf" srcId="{A0160691-C5F9-44B8-9B17-16C16C30252D}" destId="{F851179B-8172-4F3C-9D37-D3F7FB0EF475}" srcOrd="1" destOrd="0" presId="urn:microsoft.com/office/officeart/2009/3/layout/HorizontalOrganizationChart"/>
    <dgm:cxn modelId="{F1E02A97-3F7E-4518-A0F2-143531AE5E13}" type="presOf" srcId="{7C1C211D-DF08-4FA2-A593-3F78C8D74D1E}" destId="{45DB4F03-E258-4D63-8A62-5FF930F47F03}" srcOrd="0" destOrd="0" presId="urn:microsoft.com/office/officeart/2009/3/layout/HorizontalOrganizationChart"/>
    <dgm:cxn modelId="{E6A73597-7E1B-45F4-87F8-639B060EE5F9}" srcId="{FD7FAD90-BB4B-4012-8D13-9F856976AA67}" destId="{647BA657-2C44-4DD3-ACA8-DB860AD60348}" srcOrd="0" destOrd="0" parTransId="{5BF516B1-813F-41C9-B29A-1A99CE7BE9CC}" sibTransId="{D87B230C-DCDD-42AB-A435-F5D9D16B1A65}"/>
    <dgm:cxn modelId="{36249CA3-6A9D-4C90-94D6-BFFC2E8AEFC3}" type="presOf" srcId="{08EED27D-B691-455A-8D11-8D4400592106}" destId="{732C192C-E27C-40C8-8819-4090783C1701}" srcOrd="1" destOrd="0" presId="urn:microsoft.com/office/officeart/2009/3/layout/HorizontalOrganizationChart"/>
    <dgm:cxn modelId="{A3225DBE-FBF4-4CA6-9910-43E74A7EDDCD}" srcId="{500D8E4F-2815-497E-8509-B9D2A67FB7E0}" destId="{08EED27D-B691-455A-8D11-8D4400592106}" srcOrd="0" destOrd="0" parTransId="{1BD718C0-8E31-4C02-8936-3DC9E7EB711A}" sibTransId="{7B5F34EC-77F8-4B43-BB2C-33BBF5B01984}"/>
    <dgm:cxn modelId="{B05C59CC-75D4-4698-890A-FC6F75B4FF72}" type="presOf" srcId="{DD0D810A-461B-43AB-9074-9E97C0408D20}" destId="{5AF7821A-E4E4-49F2-8CDD-D8E21E18D6E7}" srcOrd="0" destOrd="0" presId="urn:microsoft.com/office/officeart/2009/3/layout/HorizontalOrganizationChart"/>
    <dgm:cxn modelId="{53114ADE-C4BA-4287-8951-B2E88C33497E}" type="presOf" srcId="{7B5656C3-7C05-40A5-9696-04E748223089}" destId="{F2D44061-3F54-46D3-B092-124DCE2E8121}" srcOrd="0" destOrd="0" presId="urn:microsoft.com/office/officeart/2009/3/layout/HorizontalOrganizationChart"/>
    <dgm:cxn modelId="{3C0F37E8-4C2A-425E-9CDC-EB1C831E508B}" type="presOf" srcId="{42E17C05-21F0-41B4-B54B-D4B800F4CFDE}" destId="{F67CE4BB-3745-47AB-B95A-714BC82C109F}" srcOrd="0" destOrd="0" presId="urn:microsoft.com/office/officeart/2009/3/layout/HorizontalOrganizationChart"/>
    <dgm:cxn modelId="{FF52CFEF-D874-41D3-9875-7A1A5D611FC4}" type="presOf" srcId="{647BA657-2C44-4DD3-ACA8-DB860AD60348}" destId="{EE1A2CE2-8C85-4DC2-B5C2-6FF3F3388EC6}" srcOrd="1" destOrd="0" presId="urn:microsoft.com/office/officeart/2009/3/layout/HorizontalOrganizationChart"/>
    <dgm:cxn modelId="{707D94F3-C487-4A6D-B47A-F3348A9ECDEA}" type="presOf" srcId="{A0160691-C5F9-44B8-9B17-16C16C30252D}" destId="{D6362239-05DD-421C-83F1-82D1BD0C2550}" srcOrd="0" destOrd="0" presId="urn:microsoft.com/office/officeart/2009/3/layout/HorizontalOrganizationChart"/>
    <dgm:cxn modelId="{7942EEFD-1053-428D-A22D-A2E6A5CEC71F}" srcId="{DD0D810A-461B-43AB-9074-9E97C0408D20}" destId="{FD7FAD90-BB4B-4012-8D13-9F856976AA67}" srcOrd="0" destOrd="0" parTransId="{630DAAD5-A305-4EBB-9899-24FE19ECCAEA}" sibTransId="{EA0BA6A4-443D-48A6-B406-9AD78CBBC07A}"/>
    <dgm:cxn modelId="{886B99FE-F954-4514-921D-F760C48E74D9}" srcId="{FD7FAD90-BB4B-4012-8D13-9F856976AA67}" destId="{7B5656C3-7C05-40A5-9696-04E748223089}" srcOrd="2" destOrd="0" parTransId="{42E17C05-21F0-41B4-B54B-D4B800F4CFDE}" sibTransId="{616C326C-4709-4B48-8294-E5BAFAB16CAC}"/>
    <dgm:cxn modelId="{2B58488D-7FEB-4913-8EB5-9273DAFF8FB7}" type="presParOf" srcId="{5AF7821A-E4E4-49F2-8CDD-D8E21E18D6E7}" destId="{1EC5381C-7822-454D-89B8-C196606F0848}" srcOrd="0" destOrd="0" presId="urn:microsoft.com/office/officeart/2009/3/layout/HorizontalOrganizationChart"/>
    <dgm:cxn modelId="{9824216F-8910-4730-9D08-568BB9C45D0F}" type="presParOf" srcId="{1EC5381C-7822-454D-89B8-C196606F0848}" destId="{BE4C360D-0695-4556-A8BB-D8E0AAE0D712}" srcOrd="0" destOrd="0" presId="urn:microsoft.com/office/officeart/2009/3/layout/HorizontalOrganizationChart"/>
    <dgm:cxn modelId="{FE2525FE-A84C-4613-8C6F-5965516B6DF4}" type="presParOf" srcId="{BE4C360D-0695-4556-A8BB-D8E0AAE0D712}" destId="{68BD075B-C694-4A97-8ECA-96FB005080EE}" srcOrd="0" destOrd="0" presId="urn:microsoft.com/office/officeart/2009/3/layout/HorizontalOrganizationChart"/>
    <dgm:cxn modelId="{A12767D2-19BA-462D-AB7C-2A16EBEE8AD1}" type="presParOf" srcId="{BE4C360D-0695-4556-A8BB-D8E0AAE0D712}" destId="{EBF8284A-7FED-45F6-9524-71BE7355EC57}" srcOrd="1" destOrd="0" presId="urn:microsoft.com/office/officeart/2009/3/layout/HorizontalOrganizationChart"/>
    <dgm:cxn modelId="{6D047955-AD11-422B-A2AC-EB315A6267E6}" type="presParOf" srcId="{1EC5381C-7822-454D-89B8-C196606F0848}" destId="{87C96744-C259-4D12-9095-009A82984DE0}" srcOrd="1" destOrd="0" presId="urn:microsoft.com/office/officeart/2009/3/layout/HorizontalOrganizationChart"/>
    <dgm:cxn modelId="{F8EC1EDE-49FE-4AD4-BF5C-95A18BCFDFA6}" type="presParOf" srcId="{87C96744-C259-4D12-9095-009A82984DE0}" destId="{D513CCCA-A47C-4137-B853-1AC1B040171A}" srcOrd="0" destOrd="0" presId="urn:microsoft.com/office/officeart/2009/3/layout/HorizontalOrganizationChart"/>
    <dgm:cxn modelId="{0EC97309-433E-4E56-8E7D-B6134223B134}" type="presParOf" srcId="{87C96744-C259-4D12-9095-009A82984DE0}" destId="{C4117772-9668-45F4-A79C-56F34488F87A}" srcOrd="1" destOrd="0" presId="urn:microsoft.com/office/officeart/2009/3/layout/HorizontalOrganizationChart"/>
    <dgm:cxn modelId="{C06B6328-6968-4292-9E92-70CBA389199B}" type="presParOf" srcId="{C4117772-9668-45F4-A79C-56F34488F87A}" destId="{8DFCA2D4-EC70-43E4-97D7-88067026677E}" srcOrd="0" destOrd="0" presId="urn:microsoft.com/office/officeart/2009/3/layout/HorizontalOrganizationChart"/>
    <dgm:cxn modelId="{5FF1BE00-F6A4-4C2D-A756-9D3245A8C94C}" type="presParOf" srcId="{8DFCA2D4-EC70-43E4-97D7-88067026677E}" destId="{286FD8F5-9FB7-4A8F-BCB6-CD474CCCD646}" srcOrd="0" destOrd="0" presId="urn:microsoft.com/office/officeart/2009/3/layout/HorizontalOrganizationChart"/>
    <dgm:cxn modelId="{B7B2C18B-1EF0-4AE8-A4DE-F482FD057B51}" type="presParOf" srcId="{8DFCA2D4-EC70-43E4-97D7-88067026677E}" destId="{EE1A2CE2-8C85-4DC2-B5C2-6FF3F3388EC6}" srcOrd="1" destOrd="0" presId="urn:microsoft.com/office/officeart/2009/3/layout/HorizontalOrganizationChart"/>
    <dgm:cxn modelId="{88EF3D30-7F85-4BF5-AD7F-DCE750A9179A}" type="presParOf" srcId="{C4117772-9668-45F4-A79C-56F34488F87A}" destId="{64CC68AB-3381-45E3-9906-AD39CBFF3001}" srcOrd="1" destOrd="0" presId="urn:microsoft.com/office/officeart/2009/3/layout/HorizontalOrganizationChart"/>
    <dgm:cxn modelId="{9DC2578B-4B78-4A69-A9D4-526B9A4B202B}" type="presParOf" srcId="{C4117772-9668-45F4-A79C-56F34488F87A}" destId="{C943301C-5654-414D-82B4-88F40075513C}" srcOrd="2" destOrd="0" presId="urn:microsoft.com/office/officeart/2009/3/layout/HorizontalOrganizationChart"/>
    <dgm:cxn modelId="{DACF49C0-1741-47F0-A575-3CC348D59D30}" type="presParOf" srcId="{87C96744-C259-4D12-9095-009A82984DE0}" destId="{FDC25BEF-5C83-4CFB-83AF-E6EDFD491A94}" srcOrd="2" destOrd="0" presId="urn:microsoft.com/office/officeart/2009/3/layout/HorizontalOrganizationChart"/>
    <dgm:cxn modelId="{5EE7A57C-A69D-4F15-8CAA-0F9DB2B10ED0}" type="presParOf" srcId="{87C96744-C259-4D12-9095-009A82984DE0}" destId="{488E5521-A948-40E4-A340-019861CC9099}" srcOrd="3" destOrd="0" presId="urn:microsoft.com/office/officeart/2009/3/layout/HorizontalOrganizationChart"/>
    <dgm:cxn modelId="{2A47D834-6DF6-4D69-BB30-78D936CF3480}" type="presParOf" srcId="{488E5521-A948-40E4-A340-019861CC9099}" destId="{11BC0E0E-96AB-4EE8-A552-4CE6A3643D05}" srcOrd="0" destOrd="0" presId="urn:microsoft.com/office/officeart/2009/3/layout/HorizontalOrganizationChart"/>
    <dgm:cxn modelId="{34EAFDB8-CE82-49A6-8D2F-245E2841E97E}" type="presParOf" srcId="{11BC0E0E-96AB-4EE8-A552-4CE6A3643D05}" destId="{457852C2-B9FC-4EB8-88BF-68AA537E0DFB}" srcOrd="0" destOrd="0" presId="urn:microsoft.com/office/officeart/2009/3/layout/HorizontalOrganizationChart"/>
    <dgm:cxn modelId="{9C272FD1-63D7-49F3-8DF5-A4EB244B96F5}" type="presParOf" srcId="{11BC0E0E-96AB-4EE8-A552-4CE6A3643D05}" destId="{97F97EFA-2719-4B7C-8A12-4D9EAC9877E3}" srcOrd="1" destOrd="0" presId="urn:microsoft.com/office/officeart/2009/3/layout/HorizontalOrganizationChart"/>
    <dgm:cxn modelId="{2AA69F54-70F2-47F1-8BAF-34E865914F5C}" type="presParOf" srcId="{488E5521-A948-40E4-A340-019861CC9099}" destId="{94BD17DB-F00F-4D96-B365-DE63979CCFE4}" srcOrd="1" destOrd="0" presId="urn:microsoft.com/office/officeart/2009/3/layout/HorizontalOrganizationChart"/>
    <dgm:cxn modelId="{87830C2A-AD2B-41C2-8B9B-D7BC362F3CAC}" type="presParOf" srcId="{488E5521-A948-40E4-A340-019861CC9099}" destId="{67460F10-13FE-4A49-B241-6A9072ADEA35}" srcOrd="2" destOrd="0" presId="urn:microsoft.com/office/officeart/2009/3/layout/HorizontalOrganizationChart"/>
    <dgm:cxn modelId="{8E815462-D18A-4515-9476-834E344CFD7E}" type="presParOf" srcId="{87C96744-C259-4D12-9095-009A82984DE0}" destId="{F67CE4BB-3745-47AB-B95A-714BC82C109F}" srcOrd="4" destOrd="0" presId="urn:microsoft.com/office/officeart/2009/3/layout/HorizontalOrganizationChart"/>
    <dgm:cxn modelId="{EDCB1E85-3140-45AC-B584-C83DE3B95A08}" type="presParOf" srcId="{87C96744-C259-4D12-9095-009A82984DE0}" destId="{4E8A01CF-C0C6-4E7D-912E-93E9B28CB6C6}" srcOrd="5" destOrd="0" presId="urn:microsoft.com/office/officeart/2009/3/layout/HorizontalOrganizationChart"/>
    <dgm:cxn modelId="{05F44DAB-D026-488C-8934-AE33B6C50102}" type="presParOf" srcId="{4E8A01CF-C0C6-4E7D-912E-93E9B28CB6C6}" destId="{1C9C5E79-8F42-4F62-ACAC-2BF7672A9151}" srcOrd="0" destOrd="0" presId="urn:microsoft.com/office/officeart/2009/3/layout/HorizontalOrganizationChart"/>
    <dgm:cxn modelId="{013537CE-F821-47D2-A3D4-C4C8A863BFD8}" type="presParOf" srcId="{1C9C5E79-8F42-4F62-ACAC-2BF7672A9151}" destId="{F2D44061-3F54-46D3-B092-124DCE2E8121}" srcOrd="0" destOrd="0" presId="urn:microsoft.com/office/officeart/2009/3/layout/HorizontalOrganizationChart"/>
    <dgm:cxn modelId="{31A09B7B-AF2B-4C97-B473-5D636F540619}" type="presParOf" srcId="{1C9C5E79-8F42-4F62-ACAC-2BF7672A9151}" destId="{4641AED7-81EE-4C53-85BC-B06D989B5298}" srcOrd="1" destOrd="0" presId="urn:microsoft.com/office/officeart/2009/3/layout/HorizontalOrganizationChart"/>
    <dgm:cxn modelId="{27EFB5E7-B0EE-4DFF-BF83-A31A77C4CC30}" type="presParOf" srcId="{4E8A01CF-C0C6-4E7D-912E-93E9B28CB6C6}" destId="{64F6B278-DE5B-4C60-8010-3BC18042AE4A}" srcOrd="1" destOrd="0" presId="urn:microsoft.com/office/officeart/2009/3/layout/HorizontalOrganizationChart"/>
    <dgm:cxn modelId="{8643BF48-A46F-4DB3-BCD3-2BC983F28EEE}" type="presParOf" srcId="{4E8A01CF-C0C6-4E7D-912E-93E9B28CB6C6}" destId="{93D1D8A8-58B4-4DD7-97B2-8F65889E7488}" srcOrd="2" destOrd="0" presId="urn:microsoft.com/office/officeart/2009/3/layout/HorizontalOrganizationChart"/>
    <dgm:cxn modelId="{6259138D-0CD0-445A-A355-5CF227842619}" type="presParOf" srcId="{1EC5381C-7822-454D-89B8-C196606F0848}" destId="{C164E9D4-E4CB-4563-AFBC-C1531A74DD65}" srcOrd="2" destOrd="0" presId="urn:microsoft.com/office/officeart/2009/3/layout/HorizontalOrganizationChart"/>
    <dgm:cxn modelId="{131D28CE-4087-464D-BB4A-3B7BC7826236}" type="presParOf" srcId="{5AF7821A-E4E4-49F2-8CDD-D8E21E18D6E7}" destId="{37F4E887-9AB5-4A1B-8AB7-17A4FB4763A2}" srcOrd="1" destOrd="0" presId="urn:microsoft.com/office/officeart/2009/3/layout/HorizontalOrganizationChart"/>
    <dgm:cxn modelId="{25A096E2-38EB-4280-97C0-620A414D4588}" type="presParOf" srcId="{37F4E887-9AB5-4A1B-8AB7-17A4FB4763A2}" destId="{1EB84C42-2042-405B-ABF4-B84C590152FD}" srcOrd="0" destOrd="0" presId="urn:microsoft.com/office/officeart/2009/3/layout/HorizontalOrganizationChart"/>
    <dgm:cxn modelId="{F80F6150-0E7D-4D82-97AD-9C159BCC5A22}" type="presParOf" srcId="{1EB84C42-2042-405B-ABF4-B84C590152FD}" destId="{7C97E42F-1B16-46A9-9A74-EEA8016BCEF7}" srcOrd="0" destOrd="0" presId="urn:microsoft.com/office/officeart/2009/3/layout/HorizontalOrganizationChart"/>
    <dgm:cxn modelId="{0C2A430C-47FA-4234-BFEE-8B00C0BB2763}" type="presParOf" srcId="{1EB84C42-2042-405B-ABF4-B84C590152FD}" destId="{1BD0D4E9-0148-42E6-ABF9-A9ADB864F0E4}" srcOrd="1" destOrd="0" presId="urn:microsoft.com/office/officeart/2009/3/layout/HorizontalOrganizationChart"/>
    <dgm:cxn modelId="{61FB4F88-89F6-43FC-90B2-FEB0AFD5EF10}" type="presParOf" srcId="{37F4E887-9AB5-4A1B-8AB7-17A4FB4763A2}" destId="{E94F53F7-97C9-4733-BF76-7FA0EC78946E}" srcOrd="1" destOrd="0" presId="urn:microsoft.com/office/officeart/2009/3/layout/HorizontalOrganizationChart"/>
    <dgm:cxn modelId="{F0CABC4A-E2F0-4FF5-9B77-2CD0CB2E4912}" type="presParOf" srcId="{E94F53F7-97C9-4733-BF76-7FA0EC78946E}" destId="{B424F5A6-E31E-4538-B20B-89CB9CA6EB53}" srcOrd="0" destOrd="0" presId="urn:microsoft.com/office/officeart/2009/3/layout/HorizontalOrganizationChart"/>
    <dgm:cxn modelId="{24189C1D-B3AC-49C3-8F27-A4AB3C19CF5C}" type="presParOf" srcId="{E94F53F7-97C9-4733-BF76-7FA0EC78946E}" destId="{3A8DF9DB-2E77-4DAB-BC0B-B92EB1FF8BC5}" srcOrd="1" destOrd="0" presId="urn:microsoft.com/office/officeart/2009/3/layout/HorizontalOrganizationChart"/>
    <dgm:cxn modelId="{9058E57D-70AB-4AE0-8EB7-E775AB8B49FD}" type="presParOf" srcId="{3A8DF9DB-2E77-4DAB-BC0B-B92EB1FF8BC5}" destId="{4C41DFD4-F6DF-4612-830C-2F909B3A1F5B}" srcOrd="0" destOrd="0" presId="urn:microsoft.com/office/officeart/2009/3/layout/HorizontalOrganizationChart"/>
    <dgm:cxn modelId="{52303B30-5CFF-4290-8DA5-73F0A4FBACB5}" type="presParOf" srcId="{4C41DFD4-F6DF-4612-830C-2F909B3A1F5B}" destId="{F7B5F65C-7F4E-4947-B4BA-38FBE2BE4761}" srcOrd="0" destOrd="0" presId="urn:microsoft.com/office/officeart/2009/3/layout/HorizontalOrganizationChart"/>
    <dgm:cxn modelId="{E33EFD10-6116-45B6-B6A9-B3CCC2E07F77}" type="presParOf" srcId="{4C41DFD4-F6DF-4612-830C-2F909B3A1F5B}" destId="{732C192C-E27C-40C8-8819-4090783C1701}" srcOrd="1" destOrd="0" presId="urn:microsoft.com/office/officeart/2009/3/layout/HorizontalOrganizationChart"/>
    <dgm:cxn modelId="{AB10A0A9-BA56-4DC3-900D-0C992AA5AC53}" type="presParOf" srcId="{3A8DF9DB-2E77-4DAB-BC0B-B92EB1FF8BC5}" destId="{948BF28F-AF9F-45A9-BA48-BBDF682A2667}" srcOrd="1" destOrd="0" presId="urn:microsoft.com/office/officeart/2009/3/layout/HorizontalOrganizationChart"/>
    <dgm:cxn modelId="{9860D36D-7F9D-406E-804B-A5269E340A4C}" type="presParOf" srcId="{3A8DF9DB-2E77-4DAB-BC0B-B92EB1FF8BC5}" destId="{C9D9FA34-D2C9-4FCE-A862-266806C57C43}" srcOrd="2" destOrd="0" presId="urn:microsoft.com/office/officeart/2009/3/layout/HorizontalOrganizationChart"/>
    <dgm:cxn modelId="{65813665-C0BA-4D89-A031-627396FC4DED}" type="presParOf" srcId="{E94F53F7-97C9-4733-BF76-7FA0EC78946E}" destId="{45DB4F03-E258-4D63-8A62-5FF930F47F03}" srcOrd="2" destOrd="0" presId="urn:microsoft.com/office/officeart/2009/3/layout/HorizontalOrganizationChart"/>
    <dgm:cxn modelId="{E5E4DAC8-5686-485A-9B31-20E4028287E0}" type="presParOf" srcId="{E94F53F7-97C9-4733-BF76-7FA0EC78946E}" destId="{9266E2E1-1F1B-4F85-9C4F-6554D436EE45}" srcOrd="3" destOrd="0" presId="urn:microsoft.com/office/officeart/2009/3/layout/HorizontalOrganizationChart"/>
    <dgm:cxn modelId="{5204716D-9331-4106-A9D4-C0B4B0DC5812}" type="presParOf" srcId="{9266E2E1-1F1B-4F85-9C4F-6554D436EE45}" destId="{216C5E56-E98A-4B22-9642-30034A99DD26}" srcOrd="0" destOrd="0" presId="urn:microsoft.com/office/officeart/2009/3/layout/HorizontalOrganizationChart"/>
    <dgm:cxn modelId="{9F9DB2E8-80FD-4494-88F6-5F71CD504F84}" type="presParOf" srcId="{216C5E56-E98A-4B22-9642-30034A99DD26}" destId="{D6362239-05DD-421C-83F1-82D1BD0C2550}" srcOrd="0" destOrd="0" presId="urn:microsoft.com/office/officeart/2009/3/layout/HorizontalOrganizationChart"/>
    <dgm:cxn modelId="{FFE07DC5-E073-4FDC-A948-0F2AAD7EEC72}" type="presParOf" srcId="{216C5E56-E98A-4B22-9642-30034A99DD26}" destId="{F851179B-8172-4F3C-9D37-D3F7FB0EF475}" srcOrd="1" destOrd="0" presId="urn:microsoft.com/office/officeart/2009/3/layout/HorizontalOrganizationChart"/>
    <dgm:cxn modelId="{64CE938A-59A6-45B0-8C77-F127E8315945}" type="presParOf" srcId="{9266E2E1-1F1B-4F85-9C4F-6554D436EE45}" destId="{0A8380AA-7806-4D64-9DD4-19FEC110BACA}" srcOrd="1" destOrd="0" presId="urn:microsoft.com/office/officeart/2009/3/layout/HorizontalOrganizationChart"/>
    <dgm:cxn modelId="{F11194F2-A4AB-42F5-931A-AF97D593ED73}" type="presParOf" srcId="{9266E2E1-1F1B-4F85-9C4F-6554D436EE45}" destId="{23C782FC-9ED0-4043-B330-7ACFA08C24C4}" srcOrd="2" destOrd="0" presId="urn:microsoft.com/office/officeart/2009/3/layout/HorizontalOrganizationChart"/>
    <dgm:cxn modelId="{4DBBDB2B-E569-4705-8829-1094454EEC18}" type="presParOf" srcId="{37F4E887-9AB5-4A1B-8AB7-17A4FB4763A2}" destId="{471D85D6-706C-4286-9953-9A06F09429A9}" srcOrd="2" destOrd="0" presId="urn:microsoft.com/office/officeart/2009/3/layout/HorizontalOrganizationChar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D0D810A-461B-43AB-9074-9E97C0408D20}" type="doc">
      <dgm:prSet loTypeId="urn:microsoft.com/office/officeart/2009/3/layout/HorizontalOrganizationChart" loCatId="hierarchy" qsTypeId="urn:microsoft.com/office/officeart/2005/8/quickstyle/simple1" qsCatId="simple" csTypeId="urn:microsoft.com/office/officeart/2005/8/colors/accent2_2" csCatId="accent2" phldr="1"/>
      <dgm:spPr/>
      <dgm:t>
        <a:bodyPr/>
        <a:lstStyle/>
        <a:p>
          <a:endParaRPr lang="en-US"/>
        </a:p>
      </dgm:t>
    </dgm:pt>
    <dgm:pt modelId="{08EED27D-B691-455A-8D11-8D4400592106}">
      <dgm:prSet phldrT="[Text]" custT="1"/>
      <dgm:spPr>
        <a:solidFill>
          <a:schemeClr val="bg2"/>
        </a:solidFill>
        <a:ln>
          <a:noFill/>
        </a:ln>
      </dgm:spPr>
      <dgm:t>
        <a:bodyPr/>
        <a:lstStyle/>
        <a:p>
          <a:r>
            <a:rPr lang="en-US" sz="1100" b="1" dirty="0">
              <a:solidFill>
                <a:schemeClr val="bg1"/>
              </a:solidFill>
            </a:rPr>
            <a:t>Approved</a:t>
          </a:r>
        </a:p>
      </dgm:t>
    </dgm:pt>
    <dgm:pt modelId="{1BD718C0-8E31-4C02-8936-3DC9E7EB711A}" type="parTrans" cxnId="{A3225DBE-FBF4-4CA6-9910-43E74A7EDDCD}">
      <dgm:prSet/>
      <dgm:spPr/>
      <dgm:t>
        <a:bodyPr/>
        <a:lstStyle/>
        <a:p>
          <a:endParaRPr lang="en-US" sz="1100" b="1"/>
        </a:p>
      </dgm:t>
    </dgm:pt>
    <dgm:pt modelId="{7B5F34EC-77F8-4B43-BB2C-33BBF5B01984}" type="sibTrans" cxnId="{A3225DBE-FBF4-4CA6-9910-43E74A7EDDCD}">
      <dgm:prSet/>
      <dgm:spPr/>
      <dgm:t>
        <a:bodyPr/>
        <a:lstStyle/>
        <a:p>
          <a:endParaRPr lang="en-US" sz="1100" b="1"/>
        </a:p>
      </dgm:t>
    </dgm:pt>
    <dgm:pt modelId="{A0160691-C5F9-44B8-9B17-16C16C30252D}">
      <dgm:prSet phldrT="[Text]" custT="1"/>
      <dgm:spPr>
        <a:solidFill>
          <a:schemeClr val="bg2"/>
        </a:solidFill>
        <a:ln>
          <a:noFill/>
        </a:ln>
      </dgm:spPr>
      <dgm:t>
        <a:bodyPr/>
        <a:lstStyle/>
        <a:p>
          <a:r>
            <a:rPr lang="en-US" sz="1100" b="1" dirty="0">
              <a:solidFill>
                <a:schemeClr val="bg1"/>
              </a:solidFill>
            </a:rPr>
            <a:t>Denied</a:t>
          </a:r>
        </a:p>
      </dgm:t>
    </dgm:pt>
    <dgm:pt modelId="{7C1C211D-DF08-4FA2-A593-3F78C8D74D1E}" type="parTrans" cxnId="{D66B2423-EA40-4AD3-8D39-8A788F41731C}">
      <dgm:prSet/>
      <dgm:spPr/>
      <dgm:t>
        <a:bodyPr/>
        <a:lstStyle/>
        <a:p>
          <a:endParaRPr lang="en-US" sz="1100" b="1"/>
        </a:p>
      </dgm:t>
    </dgm:pt>
    <dgm:pt modelId="{7CA754DD-BCA3-484D-948A-4898820E12A5}" type="sibTrans" cxnId="{D66B2423-EA40-4AD3-8D39-8A788F41731C}">
      <dgm:prSet/>
      <dgm:spPr/>
      <dgm:t>
        <a:bodyPr/>
        <a:lstStyle/>
        <a:p>
          <a:endParaRPr lang="en-US" sz="1100" b="1"/>
        </a:p>
      </dgm:t>
    </dgm:pt>
    <dgm:pt modelId="{500D8E4F-2815-497E-8509-B9D2A67FB7E0}">
      <dgm:prSet phldrT="[Text]" custT="1"/>
      <dgm:spPr>
        <a:solidFill>
          <a:schemeClr val="bg2"/>
        </a:solidFill>
      </dgm:spPr>
      <dgm:t>
        <a:bodyPr/>
        <a:lstStyle/>
        <a:p>
          <a:r>
            <a:rPr lang="en-US" sz="1100" b="1" dirty="0">
              <a:solidFill>
                <a:schemeClr val="bg1"/>
              </a:solidFill>
            </a:rPr>
            <a:t>1332 waiver</a:t>
          </a:r>
        </a:p>
      </dgm:t>
    </dgm:pt>
    <dgm:pt modelId="{43584BFA-CFB5-402E-9085-ECF8ABFDD67E}" type="sibTrans" cxnId="{2EABA069-EC12-4D06-907B-90EA5D7C99D2}">
      <dgm:prSet/>
      <dgm:spPr/>
      <dgm:t>
        <a:bodyPr/>
        <a:lstStyle/>
        <a:p>
          <a:endParaRPr lang="en-US" sz="1100" b="1"/>
        </a:p>
      </dgm:t>
    </dgm:pt>
    <dgm:pt modelId="{EAD223CF-F517-4779-8EB8-8AE1D099BB36}" type="parTrans" cxnId="{2EABA069-EC12-4D06-907B-90EA5D7C99D2}">
      <dgm:prSet/>
      <dgm:spPr/>
      <dgm:t>
        <a:bodyPr/>
        <a:lstStyle/>
        <a:p>
          <a:endParaRPr lang="en-US" sz="1100" b="1"/>
        </a:p>
      </dgm:t>
    </dgm:pt>
    <dgm:pt modelId="{FD7FAD90-BB4B-4012-8D13-9F856976AA67}">
      <dgm:prSet custT="1"/>
      <dgm:spPr>
        <a:solidFill>
          <a:schemeClr val="bg2"/>
        </a:solidFill>
      </dgm:spPr>
      <dgm:t>
        <a:bodyPr/>
        <a:lstStyle/>
        <a:p>
          <a:r>
            <a:rPr lang="en-US" sz="1100" b="1" dirty="0">
              <a:solidFill>
                <a:schemeClr val="bg1"/>
              </a:solidFill>
            </a:rPr>
            <a:t>1115 waiver</a:t>
          </a:r>
        </a:p>
      </dgm:t>
    </dgm:pt>
    <dgm:pt modelId="{630DAAD5-A305-4EBB-9899-24FE19ECCAEA}" type="parTrans" cxnId="{7942EEFD-1053-428D-A22D-A2E6A5CEC71F}">
      <dgm:prSet/>
      <dgm:spPr/>
      <dgm:t>
        <a:bodyPr/>
        <a:lstStyle/>
        <a:p>
          <a:endParaRPr lang="en-US" sz="1100" b="1"/>
        </a:p>
      </dgm:t>
    </dgm:pt>
    <dgm:pt modelId="{EA0BA6A4-443D-48A6-B406-9AD78CBBC07A}" type="sibTrans" cxnId="{7942EEFD-1053-428D-A22D-A2E6A5CEC71F}">
      <dgm:prSet/>
      <dgm:spPr/>
      <dgm:t>
        <a:bodyPr/>
        <a:lstStyle/>
        <a:p>
          <a:endParaRPr lang="en-US" sz="1100" b="1"/>
        </a:p>
      </dgm:t>
    </dgm:pt>
    <dgm:pt modelId="{647BA657-2C44-4DD3-ACA8-DB860AD60348}">
      <dgm:prSet custT="1"/>
      <dgm:spPr>
        <a:solidFill>
          <a:schemeClr val="bg2"/>
        </a:solidFill>
        <a:ln>
          <a:noFill/>
        </a:ln>
      </dgm:spPr>
      <dgm:t>
        <a:bodyPr/>
        <a:lstStyle/>
        <a:p>
          <a:r>
            <a:rPr lang="en-US" sz="1100" b="1" dirty="0">
              <a:solidFill>
                <a:schemeClr val="bg1"/>
              </a:solidFill>
            </a:rPr>
            <a:t>Approved</a:t>
          </a:r>
        </a:p>
      </dgm:t>
    </dgm:pt>
    <dgm:pt modelId="{5BF516B1-813F-41C9-B29A-1A99CE7BE9CC}" type="parTrans" cxnId="{E6A73597-7E1B-45F4-87F8-639B060EE5F9}">
      <dgm:prSet/>
      <dgm:spPr/>
      <dgm:t>
        <a:bodyPr/>
        <a:lstStyle/>
        <a:p>
          <a:endParaRPr lang="en-US" sz="1100" b="1"/>
        </a:p>
      </dgm:t>
    </dgm:pt>
    <dgm:pt modelId="{D87B230C-DCDD-42AB-A435-F5D9D16B1A65}" type="sibTrans" cxnId="{E6A73597-7E1B-45F4-87F8-639B060EE5F9}">
      <dgm:prSet/>
      <dgm:spPr/>
      <dgm:t>
        <a:bodyPr/>
        <a:lstStyle/>
        <a:p>
          <a:endParaRPr lang="en-US" sz="1100" b="1"/>
        </a:p>
      </dgm:t>
    </dgm:pt>
    <dgm:pt modelId="{6FFBC465-9B1A-4A44-BE49-AFB992EC210B}">
      <dgm:prSet custT="1"/>
      <dgm:spPr>
        <a:solidFill>
          <a:schemeClr val="bg2"/>
        </a:solidFill>
        <a:ln>
          <a:noFill/>
        </a:ln>
      </dgm:spPr>
      <dgm:t>
        <a:bodyPr/>
        <a:lstStyle/>
        <a:p>
          <a:r>
            <a:rPr lang="en-US" sz="1100" b="1" dirty="0">
              <a:solidFill>
                <a:schemeClr val="bg1"/>
              </a:solidFill>
            </a:rPr>
            <a:t>Denied</a:t>
          </a:r>
        </a:p>
      </dgm:t>
    </dgm:pt>
    <dgm:pt modelId="{0FDA490F-0494-4FB5-81EC-714B51D3B996}" type="parTrans" cxnId="{0334A876-BD77-4241-B64A-318B24FCFBD7}">
      <dgm:prSet/>
      <dgm:spPr/>
      <dgm:t>
        <a:bodyPr/>
        <a:lstStyle/>
        <a:p>
          <a:endParaRPr lang="en-US" sz="1100" b="1"/>
        </a:p>
      </dgm:t>
    </dgm:pt>
    <dgm:pt modelId="{FA077E5F-40AE-488D-A0A2-3F722A5D63AC}" type="sibTrans" cxnId="{0334A876-BD77-4241-B64A-318B24FCFBD7}">
      <dgm:prSet/>
      <dgm:spPr/>
      <dgm:t>
        <a:bodyPr/>
        <a:lstStyle/>
        <a:p>
          <a:endParaRPr lang="en-US" sz="1100" b="1"/>
        </a:p>
      </dgm:t>
    </dgm:pt>
    <dgm:pt modelId="{7B5656C3-7C05-40A5-9696-04E748223089}">
      <dgm:prSet custT="1"/>
      <dgm:spPr>
        <a:solidFill>
          <a:schemeClr val="bg2"/>
        </a:solidFill>
        <a:ln>
          <a:noFill/>
        </a:ln>
      </dgm:spPr>
      <dgm:t>
        <a:bodyPr/>
        <a:lstStyle/>
        <a:p>
          <a:r>
            <a:rPr lang="en-US" sz="1100" b="1" dirty="0">
              <a:solidFill>
                <a:schemeClr val="bg1"/>
              </a:solidFill>
            </a:rPr>
            <a:t>Delay*</a:t>
          </a:r>
        </a:p>
      </dgm:t>
    </dgm:pt>
    <dgm:pt modelId="{42E17C05-21F0-41B4-B54B-D4B800F4CFDE}" type="parTrans" cxnId="{886B99FE-F954-4514-921D-F760C48E74D9}">
      <dgm:prSet/>
      <dgm:spPr/>
      <dgm:t>
        <a:bodyPr/>
        <a:lstStyle/>
        <a:p>
          <a:endParaRPr lang="en-US" sz="1100" b="1"/>
        </a:p>
      </dgm:t>
    </dgm:pt>
    <dgm:pt modelId="{616C326C-4709-4B48-8294-E5BAFAB16CAC}" type="sibTrans" cxnId="{886B99FE-F954-4514-921D-F760C48E74D9}">
      <dgm:prSet/>
      <dgm:spPr/>
      <dgm:t>
        <a:bodyPr/>
        <a:lstStyle/>
        <a:p>
          <a:endParaRPr lang="en-US" sz="1100" b="1"/>
        </a:p>
      </dgm:t>
    </dgm:pt>
    <dgm:pt modelId="{5AF7821A-E4E4-49F2-8CDD-D8E21E18D6E7}" type="pres">
      <dgm:prSet presAssocID="{DD0D810A-461B-43AB-9074-9E97C0408D20}" presName="hierChild1" presStyleCnt="0">
        <dgm:presLayoutVars>
          <dgm:orgChart val="1"/>
          <dgm:chPref val="1"/>
          <dgm:dir/>
          <dgm:animOne val="branch"/>
          <dgm:animLvl val="lvl"/>
          <dgm:resizeHandles/>
        </dgm:presLayoutVars>
      </dgm:prSet>
      <dgm:spPr/>
    </dgm:pt>
    <dgm:pt modelId="{1EC5381C-7822-454D-89B8-C196606F0848}" type="pres">
      <dgm:prSet presAssocID="{FD7FAD90-BB4B-4012-8D13-9F856976AA67}" presName="hierRoot1" presStyleCnt="0">
        <dgm:presLayoutVars>
          <dgm:hierBranch val="init"/>
        </dgm:presLayoutVars>
      </dgm:prSet>
      <dgm:spPr/>
    </dgm:pt>
    <dgm:pt modelId="{BE4C360D-0695-4556-A8BB-D8E0AAE0D712}" type="pres">
      <dgm:prSet presAssocID="{FD7FAD90-BB4B-4012-8D13-9F856976AA67}" presName="rootComposite1" presStyleCnt="0"/>
      <dgm:spPr/>
    </dgm:pt>
    <dgm:pt modelId="{68BD075B-C694-4A97-8ECA-96FB005080EE}" type="pres">
      <dgm:prSet presAssocID="{FD7FAD90-BB4B-4012-8D13-9F856976AA67}" presName="rootText1" presStyleLbl="node0" presStyleIdx="0" presStyleCnt="2">
        <dgm:presLayoutVars>
          <dgm:chPref val="3"/>
        </dgm:presLayoutVars>
      </dgm:prSet>
      <dgm:spPr>
        <a:prstGeom prst="roundRect">
          <a:avLst/>
        </a:prstGeom>
      </dgm:spPr>
    </dgm:pt>
    <dgm:pt modelId="{EBF8284A-7FED-45F6-9524-71BE7355EC57}" type="pres">
      <dgm:prSet presAssocID="{FD7FAD90-BB4B-4012-8D13-9F856976AA67}" presName="rootConnector1" presStyleLbl="node1" presStyleIdx="0" presStyleCnt="0"/>
      <dgm:spPr/>
    </dgm:pt>
    <dgm:pt modelId="{87C96744-C259-4D12-9095-009A82984DE0}" type="pres">
      <dgm:prSet presAssocID="{FD7FAD90-BB4B-4012-8D13-9F856976AA67}" presName="hierChild2" presStyleCnt="0"/>
      <dgm:spPr/>
    </dgm:pt>
    <dgm:pt modelId="{D513CCCA-A47C-4137-B853-1AC1B040171A}" type="pres">
      <dgm:prSet presAssocID="{5BF516B1-813F-41C9-B29A-1A99CE7BE9CC}" presName="Name64" presStyleLbl="parChTrans1D2" presStyleIdx="0" presStyleCnt="5"/>
      <dgm:spPr/>
    </dgm:pt>
    <dgm:pt modelId="{C4117772-9668-45F4-A79C-56F34488F87A}" type="pres">
      <dgm:prSet presAssocID="{647BA657-2C44-4DD3-ACA8-DB860AD60348}" presName="hierRoot2" presStyleCnt="0">
        <dgm:presLayoutVars>
          <dgm:hierBranch val="init"/>
        </dgm:presLayoutVars>
      </dgm:prSet>
      <dgm:spPr/>
    </dgm:pt>
    <dgm:pt modelId="{8DFCA2D4-EC70-43E4-97D7-88067026677E}" type="pres">
      <dgm:prSet presAssocID="{647BA657-2C44-4DD3-ACA8-DB860AD60348}" presName="rootComposite" presStyleCnt="0"/>
      <dgm:spPr/>
    </dgm:pt>
    <dgm:pt modelId="{286FD8F5-9FB7-4A8F-BCB6-CD474CCCD646}" type="pres">
      <dgm:prSet presAssocID="{647BA657-2C44-4DD3-ACA8-DB860AD60348}" presName="rootText" presStyleLbl="node2" presStyleIdx="0" presStyleCnt="5" custScaleY="99397">
        <dgm:presLayoutVars>
          <dgm:chPref val="3"/>
        </dgm:presLayoutVars>
      </dgm:prSet>
      <dgm:spPr>
        <a:prstGeom prst="ellipse">
          <a:avLst/>
        </a:prstGeom>
      </dgm:spPr>
    </dgm:pt>
    <dgm:pt modelId="{EE1A2CE2-8C85-4DC2-B5C2-6FF3F3388EC6}" type="pres">
      <dgm:prSet presAssocID="{647BA657-2C44-4DD3-ACA8-DB860AD60348}" presName="rootConnector" presStyleLbl="node2" presStyleIdx="0" presStyleCnt="5"/>
      <dgm:spPr/>
    </dgm:pt>
    <dgm:pt modelId="{64CC68AB-3381-45E3-9906-AD39CBFF3001}" type="pres">
      <dgm:prSet presAssocID="{647BA657-2C44-4DD3-ACA8-DB860AD60348}" presName="hierChild4" presStyleCnt="0"/>
      <dgm:spPr/>
    </dgm:pt>
    <dgm:pt modelId="{C943301C-5654-414D-82B4-88F40075513C}" type="pres">
      <dgm:prSet presAssocID="{647BA657-2C44-4DD3-ACA8-DB860AD60348}" presName="hierChild5" presStyleCnt="0"/>
      <dgm:spPr/>
    </dgm:pt>
    <dgm:pt modelId="{FDC25BEF-5C83-4CFB-83AF-E6EDFD491A94}" type="pres">
      <dgm:prSet presAssocID="{0FDA490F-0494-4FB5-81EC-714B51D3B996}" presName="Name64" presStyleLbl="parChTrans1D2" presStyleIdx="1" presStyleCnt="5"/>
      <dgm:spPr/>
    </dgm:pt>
    <dgm:pt modelId="{488E5521-A948-40E4-A340-019861CC9099}" type="pres">
      <dgm:prSet presAssocID="{6FFBC465-9B1A-4A44-BE49-AFB992EC210B}" presName="hierRoot2" presStyleCnt="0">
        <dgm:presLayoutVars>
          <dgm:hierBranch val="init"/>
        </dgm:presLayoutVars>
      </dgm:prSet>
      <dgm:spPr/>
    </dgm:pt>
    <dgm:pt modelId="{11BC0E0E-96AB-4EE8-A552-4CE6A3643D05}" type="pres">
      <dgm:prSet presAssocID="{6FFBC465-9B1A-4A44-BE49-AFB992EC210B}" presName="rootComposite" presStyleCnt="0"/>
      <dgm:spPr/>
    </dgm:pt>
    <dgm:pt modelId="{457852C2-B9FC-4EB8-88BF-68AA537E0DFB}" type="pres">
      <dgm:prSet presAssocID="{6FFBC465-9B1A-4A44-BE49-AFB992EC210B}" presName="rootText" presStyleLbl="node2" presStyleIdx="1" presStyleCnt="5" custScaleY="99397">
        <dgm:presLayoutVars>
          <dgm:chPref val="3"/>
        </dgm:presLayoutVars>
      </dgm:prSet>
      <dgm:spPr>
        <a:prstGeom prst="ellipse">
          <a:avLst/>
        </a:prstGeom>
      </dgm:spPr>
    </dgm:pt>
    <dgm:pt modelId="{97F97EFA-2719-4B7C-8A12-4D9EAC9877E3}" type="pres">
      <dgm:prSet presAssocID="{6FFBC465-9B1A-4A44-BE49-AFB992EC210B}" presName="rootConnector" presStyleLbl="node2" presStyleIdx="1" presStyleCnt="5"/>
      <dgm:spPr/>
    </dgm:pt>
    <dgm:pt modelId="{94BD17DB-F00F-4D96-B365-DE63979CCFE4}" type="pres">
      <dgm:prSet presAssocID="{6FFBC465-9B1A-4A44-BE49-AFB992EC210B}" presName="hierChild4" presStyleCnt="0"/>
      <dgm:spPr/>
    </dgm:pt>
    <dgm:pt modelId="{67460F10-13FE-4A49-B241-6A9072ADEA35}" type="pres">
      <dgm:prSet presAssocID="{6FFBC465-9B1A-4A44-BE49-AFB992EC210B}" presName="hierChild5" presStyleCnt="0"/>
      <dgm:spPr/>
    </dgm:pt>
    <dgm:pt modelId="{F67CE4BB-3745-47AB-B95A-714BC82C109F}" type="pres">
      <dgm:prSet presAssocID="{42E17C05-21F0-41B4-B54B-D4B800F4CFDE}" presName="Name64" presStyleLbl="parChTrans1D2" presStyleIdx="2" presStyleCnt="5"/>
      <dgm:spPr/>
    </dgm:pt>
    <dgm:pt modelId="{4E8A01CF-C0C6-4E7D-912E-93E9B28CB6C6}" type="pres">
      <dgm:prSet presAssocID="{7B5656C3-7C05-40A5-9696-04E748223089}" presName="hierRoot2" presStyleCnt="0">
        <dgm:presLayoutVars>
          <dgm:hierBranch val="init"/>
        </dgm:presLayoutVars>
      </dgm:prSet>
      <dgm:spPr/>
    </dgm:pt>
    <dgm:pt modelId="{1C9C5E79-8F42-4F62-ACAC-2BF7672A9151}" type="pres">
      <dgm:prSet presAssocID="{7B5656C3-7C05-40A5-9696-04E748223089}" presName="rootComposite" presStyleCnt="0"/>
      <dgm:spPr/>
    </dgm:pt>
    <dgm:pt modelId="{F2D44061-3F54-46D3-B092-124DCE2E8121}" type="pres">
      <dgm:prSet presAssocID="{7B5656C3-7C05-40A5-9696-04E748223089}" presName="rootText" presStyleLbl="node2" presStyleIdx="2" presStyleCnt="5" custScaleY="99397">
        <dgm:presLayoutVars>
          <dgm:chPref val="3"/>
        </dgm:presLayoutVars>
      </dgm:prSet>
      <dgm:spPr>
        <a:prstGeom prst="ellipse">
          <a:avLst/>
        </a:prstGeom>
      </dgm:spPr>
    </dgm:pt>
    <dgm:pt modelId="{4641AED7-81EE-4C53-85BC-B06D989B5298}" type="pres">
      <dgm:prSet presAssocID="{7B5656C3-7C05-40A5-9696-04E748223089}" presName="rootConnector" presStyleLbl="node2" presStyleIdx="2" presStyleCnt="5"/>
      <dgm:spPr/>
    </dgm:pt>
    <dgm:pt modelId="{64F6B278-DE5B-4C60-8010-3BC18042AE4A}" type="pres">
      <dgm:prSet presAssocID="{7B5656C3-7C05-40A5-9696-04E748223089}" presName="hierChild4" presStyleCnt="0"/>
      <dgm:spPr/>
    </dgm:pt>
    <dgm:pt modelId="{93D1D8A8-58B4-4DD7-97B2-8F65889E7488}" type="pres">
      <dgm:prSet presAssocID="{7B5656C3-7C05-40A5-9696-04E748223089}" presName="hierChild5" presStyleCnt="0"/>
      <dgm:spPr/>
    </dgm:pt>
    <dgm:pt modelId="{C164E9D4-E4CB-4563-AFBC-C1531A74DD65}" type="pres">
      <dgm:prSet presAssocID="{FD7FAD90-BB4B-4012-8D13-9F856976AA67}" presName="hierChild3" presStyleCnt="0"/>
      <dgm:spPr/>
    </dgm:pt>
    <dgm:pt modelId="{37F4E887-9AB5-4A1B-8AB7-17A4FB4763A2}" type="pres">
      <dgm:prSet presAssocID="{500D8E4F-2815-497E-8509-B9D2A67FB7E0}" presName="hierRoot1" presStyleCnt="0">
        <dgm:presLayoutVars>
          <dgm:hierBranch val="init"/>
        </dgm:presLayoutVars>
      </dgm:prSet>
      <dgm:spPr/>
    </dgm:pt>
    <dgm:pt modelId="{1EB84C42-2042-405B-ABF4-B84C590152FD}" type="pres">
      <dgm:prSet presAssocID="{500D8E4F-2815-497E-8509-B9D2A67FB7E0}" presName="rootComposite1" presStyleCnt="0"/>
      <dgm:spPr/>
    </dgm:pt>
    <dgm:pt modelId="{7C97E42F-1B16-46A9-9A74-EEA8016BCEF7}" type="pres">
      <dgm:prSet presAssocID="{500D8E4F-2815-497E-8509-B9D2A67FB7E0}" presName="rootText1" presStyleLbl="node0" presStyleIdx="1" presStyleCnt="2">
        <dgm:presLayoutVars>
          <dgm:chPref val="3"/>
        </dgm:presLayoutVars>
      </dgm:prSet>
      <dgm:spPr>
        <a:prstGeom prst="roundRect">
          <a:avLst/>
        </a:prstGeom>
      </dgm:spPr>
    </dgm:pt>
    <dgm:pt modelId="{1BD0D4E9-0148-42E6-ABF9-A9ADB864F0E4}" type="pres">
      <dgm:prSet presAssocID="{500D8E4F-2815-497E-8509-B9D2A67FB7E0}" presName="rootConnector1" presStyleLbl="node1" presStyleIdx="0" presStyleCnt="0"/>
      <dgm:spPr/>
    </dgm:pt>
    <dgm:pt modelId="{E94F53F7-97C9-4733-BF76-7FA0EC78946E}" type="pres">
      <dgm:prSet presAssocID="{500D8E4F-2815-497E-8509-B9D2A67FB7E0}" presName="hierChild2" presStyleCnt="0"/>
      <dgm:spPr/>
    </dgm:pt>
    <dgm:pt modelId="{B424F5A6-E31E-4538-B20B-89CB9CA6EB53}" type="pres">
      <dgm:prSet presAssocID="{1BD718C0-8E31-4C02-8936-3DC9E7EB711A}" presName="Name64" presStyleLbl="parChTrans1D2" presStyleIdx="3" presStyleCnt="5"/>
      <dgm:spPr/>
    </dgm:pt>
    <dgm:pt modelId="{3A8DF9DB-2E77-4DAB-BC0B-B92EB1FF8BC5}" type="pres">
      <dgm:prSet presAssocID="{08EED27D-B691-455A-8D11-8D4400592106}" presName="hierRoot2" presStyleCnt="0">
        <dgm:presLayoutVars>
          <dgm:hierBranch val="init"/>
        </dgm:presLayoutVars>
      </dgm:prSet>
      <dgm:spPr/>
    </dgm:pt>
    <dgm:pt modelId="{4C41DFD4-F6DF-4612-830C-2F909B3A1F5B}" type="pres">
      <dgm:prSet presAssocID="{08EED27D-B691-455A-8D11-8D4400592106}" presName="rootComposite" presStyleCnt="0"/>
      <dgm:spPr/>
    </dgm:pt>
    <dgm:pt modelId="{F7B5F65C-7F4E-4947-B4BA-38FBE2BE4761}" type="pres">
      <dgm:prSet presAssocID="{08EED27D-B691-455A-8D11-8D4400592106}" presName="rootText" presStyleLbl="node2" presStyleIdx="3" presStyleCnt="5" custScaleY="99397">
        <dgm:presLayoutVars>
          <dgm:chPref val="3"/>
        </dgm:presLayoutVars>
      </dgm:prSet>
      <dgm:spPr>
        <a:prstGeom prst="ellipse">
          <a:avLst/>
        </a:prstGeom>
      </dgm:spPr>
    </dgm:pt>
    <dgm:pt modelId="{732C192C-E27C-40C8-8819-4090783C1701}" type="pres">
      <dgm:prSet presAssocID="{08EED27D-B691-455A-8D11-8D4400592106}" presName="rootConnector" presStyleLbl="node2" presStyleIdx="3" presStyleCnt="5"/>
      <dgm:spPr/>
    </dgm:pt>
    <dgm:pt modelId="{948BF28F-AF9F-45A9-BA48-BBDF682A2667}" type="pres">
      <dgm:prSet presAssocID="{08EED27D-B691-455A-8D11-8D4400592106}" presName="hierChild4" presStyleCnt="0"/>
      <dgm:spPr/>
    </dgm:pt>
    <dgm:pt modelId="{C9D9FA34-D2C9-4FCE-A862-266806C57C43}" type="pres">
      <dgm:prSet presAssocID="{08EED27D-B691-455A-8D11-8D4400592106}" presName="hierChild5" presStyleCnt="0"/>
      <dgm:spPr/>
    </dgm:pt>
    <dgm:pt modelId="{45DB4F03-E258-4D63-8A62-5FF930F47F03}" type="pres">
      <dgm:prSet presAssocID="{7C1C211D-DF08-4FA2-A593-3F78C8D74D1E}" presName="Name64" presStyleLbl="parChTrans1D2" presStyleIdx="4" presStyleCnt="5"/>
      <dgm:spPr/>
    </dgm:pt>
    <dgm:pt modelId="{9266E2E1-1F1B-4F85-9C4F-6554D436EE45}" type="pres">
      <dgm:prSet presAssocID="{A0160691-C5F9-44B8-9B17-16C16C30252D}" presName="hierRoot2" presStyleCnt="0">
        <dgm:presLayoutVars>
          <dgm:hierBranch val="init"/>
        </dgm:presLayoutVars>
      </dgm:prSet>
      <dgm:spPr/>
    </dgm:pt>
    <dgm:pt modelId="{216C5E56-E98A-4B22-9642-30034A99DD26}" type="pres">
      <dgm:prSet presAssocID="{A0160691-C5F9-44B8-9B17-16C16C30252D}" presName="rootComposite" presStyleCnt="0"/>
      <dgm:spPr/>
    </dgm:pt>
    <dgm:pt modelId="{D6362239-05DD-421C-83F1-82D1BD0C2550}" type="pres">
      <dgm:prSet presAssocID="{A0160691-C5F9-44B8-9B17-16C16C30252D}" presName="rootText" presStyleLbl="node2" presStyleIdx="4" presStyleCnt="5" custScaleY="99397">
        <dgm:presLayoutVars>
          <dgm:chPref val="3"/>
        </dgm:presLayoutVars>
      </dgm:prSet>
      <dgm:spPr>
        <a:prstGeom prst="ellipse">
          <a:avLst/>
        </a:prstGeom>
      </dgm:spPr>
    </dgm:pt>
    <dgm:pt modelId="{F851179B-8172-4F3C-9D37-D3F7FB0EF475}" type="pres">
      <dgm:prSet presAssocID="{A0160691-C5F9-44B8-9B17-16C16C30252D}" presName="rootConnector" presStyleLbl="node2" presStyleIdx="4" presStyleCnt="5"/>
      <dgm:spPr/>
    </dgm:pt>
    <dgm:pt modelId="{0A8380AA-7806-4D64-9DD4-19FEC110BACA}" type="pres">
      <dgm:prSet presAssocID="{A0160691-C5F9-44B8-9B17-16C16C30252D}" presName="hierChild4" presStyleCnt="0"/>
      <dgm:spPr/>
    </dgm:pt>
    <dgm:pt modelId="{23C782FC-9ED0-4043-B330-7ACFA08C24C4}" type="pres">
      <dgm:prSet presAssocID="{A0160691-C5F9-44B8-9B17-16C16C30252D}" presName="hierChild5" presStyleCnt="0"/>
      <dgm:spPr/>
    </dgm:pt>
    <dgm:pt modelId="{471D85D6-706C-4286-9953-9A06F09429A9}" type="pres">
      <dgm:prSet presAssocID="{500D8E4F-2815-497E-8509-B9D2A67FB7E0}" presName="hierChild3" presStyleCnt="0"/>
      <dgm:spPr/>
    </dgm:pt>
  </dgm:ptLst>
  <dgm:cxnLst>
    <dgm:cxn modelId="{87C1C103-11FA-4A90-A86F-3BC25AB17738}" type="presOf" srcId="{42E17C05-21F0-41B4-B54B-D4B800F4CFDE}" destId="{F67CE4BB-3745-47AB-B95A-714BC82C109F}" srcOrd="0" destOrd="0" presId="urn:microsoft.com/office/officeart/2009/3/layout/HorizontalOrganizationChart"/>
    <dgm:cxn modelId="{535E9E0F-32B2-4771-814E-A05057815EF3}" type="presOf" srcId="{A0160691-C5F9-44B8-9B17-16C16C30252D}" destId="{F851179B-8172-4F3C-9D37-D3F7FB0EF475}" srcOrd="1" destOrd="0" presId="urn:microsoft.com/office/officeart/2009/3/layout/HorizontalOrganizationChart"/>
    <dgm:cxn modelId="{C2F9C51C-79E2-4227-A303-D8FD0161EB4B}" type="presOf" srcId="{FD7FAD90-BB4B-4012-8D13-9F856976AA67}" destId="{68BD075B-C694-4A97-8ECA-96FB005080EE}" srcOrd="0" destOrd="0" presId="urn:microsoft.com/office/officeart/2009/3/layout/HorizontalOrganizationChart"/>
    <dgm:cxn modelId="{D66B2423-EA40-4AD3-8D39-8A788F41731C}" srcId="{500D8E4F-2815-497E-8509-B9D2A67FB7E0}" destId="{A0160691-C5F9-44B8-9B17-16C16C30252D}" srcOrd="1" destOrd="0" parTransId="{7C1C211D-DF08-4FA2-A593-3F78C8D74D1E}" sibTransId="{7CA754DD-BCA3-484D-948A-4898820E12A5}"/>
    <dgm:cxn modelId="{C46AA02C-A761-4069-8B16-C95286E607A2}" type="presOf" srcId="{500D8E4F-2815-497E-8509-B9D2A67FB7E0}" destId="{1BD0D4E9-0148-42E6-ABF9-A9ADB864F0E4}" srcOrd="1" destOrd="0" presId="urn:microsoft.com/office/officeart/2009/3/layout/HorizontalOrganizationChart"/>
    <dgm:cxn modelId="{36B31D2E-BF51-4B05-95B3-EFA47813499B}" type="presOf" srcId="{7B5656C3-7C05-40A5-9696-04E748223089}" destId="{4641AED7-81EE-4C53-85BC-B06D989B5298}" srcOrd="1" destOrd="0" presId="urn:microsoft.com/office/officeart/2009/3/layout/HorizontalOrganizationChart"/>
    <dgm:cxn modelId="{53B64832-8116-4688-9F3E-875388132224}" type="presOf" srcId="{500D8E4F-2815-497E-8509-B9D2A67FB7E0}" destId="{7C97E42F-1B16-46A9-9A74-EEA8016BCEF7}" srcOrd="0" destOrd="0" presId="urn:microsoft.com/office/officeart/2009/3/layout/HorizontalOrganizationChart"/>
    <dgm:cxn modelId="{3E594C42-231A-4D03-85BA-46A342976A05}" type="presOf" srcId="{7B5656C3-7C05-40A5-9696-04E748223089}" destId="{F2D44061-3F54-46D3-B092-124DCE2E8121}" srcOrd="0" destOrd="0" presId="urn:microsoft.com/office/officeart/2009/3/layout/HorizontalOrganizationChart"/>
    <dgm:cxn modelId="{47ADA665-78D3-4ADE-B08C-90DC84DFCE4A}" type="presOf" srcId="{08EED27D-B691-455A-8D11-8D4400592106}" destId="{F7B5F65C-7F4E-4947-B4BA-38FBE2BE4761}" srcOrd="0" destOrd="0" presId="urn:microsoft.com/office/officeart/2009/3/layout/HorizontalOrganizationChart"/>
    <dgm:cxn modelId="{2EABA069-EC12-4D06-907B-90EA5D7C99D2}" srcId="{DD0D810A-461B-43AB-9074-9E97C0408D20}" destId="{500D8E4F-2815-497E-8509-B9D2A67FB7E0}" srcOrd="1" destOrd="0" parTransId="{EAD223CF-F517-4779-8EB8-8AE1D099BB36}" sibTransId="{43584BFA-CFB5-402E-9085-ECF8ABFDD67E}"/>
    <dgm:cxn modelId="{8612614A-2D95-4FA9-AD1B-5672BD64200A}" type="presOf" srcId="{6FFBC465-9B1A-4A44-BE49-AFB992EC210B}" destId="{97F97EFA-2719-4B7C-8A12-4D9EAC9877E3}" srcOrd="1" destOrd="0" presId="urn:microsoft.com/office/officeart/2009/3/layout/HorizontalOrganizationChart"/>
    <dgm:cxn modelId="{B6DD096B-07A7-4DBA-BD9F-9DE37D52186F}" type="presOf" srcId="{5BF516B1-813F-41C9-B29A-1A99CE7BE9CC}" destId="{D513CCCA-A47C-4137-B853-1AC1B040171A}" srcOrd="0" destOrd="0" presId="urn:microsoft.com/office/officeart/2009/3/layout/HorizontalOrganizationChart"/>
    <dgm:cxn modelId="{0E2B5C6D-2E26-4A48-9F45-42AF3FBCC837}" type="presOf" srcId="{1BD718C0-8E31-4C02-8936-3DC9E7EB711A}" destId="{B424F5A6-E31E-4538-B20B-89CB9CA6EB53}" srcOrd="0" destOrd="0" presId="urn:microsoft.com/office/officeart/2009/3/layout/HorizontalOrganizationChart"/>
    <dgm:cxn modelId="{C5C06155-A1D6-4231-B38F-2106EFC9F9F0}" type="presOf" srcId="{DD0D810A-461B-43AB-9074-9E97C0408D20}" destId="{5AF7821A-E4E4-49F2-8CDD-D8E21E18D6E7}" srcOrd="0" destOrd="0" presId="urn:microsoft.com/office/officeart/2009/3/layout/HorizontalOrganizationChart"/>
    <dgm:cxn modelId="{0334A876-BD77-4241-B64A-318B24FCFBD7}" srcId="{FD7FAD90-BB4B-4012-8D13-9F856976AA67}" destId="{6FFBC465-9B1A-4A44-BE49-AFB992EC210B}" srcOrd="1" destOrd="0" parTransId="{0FDA490F-0494-4FB5-81EC-714B51D3B996}" sibTransId="{FA077E5F-40AE-488D-A0A2-3F722A5D63AC}"/>
    <dgm:cxn modelId="{D3BF9759-797B-496E-AED5-08ACEE6CD291}" type="presOf" srcId="{647BA657-2C44-4DD3-ACA8-DB860AD60348}" destId="{286FD8F5-9FB7-4A8F-BCB6-CD474CCCD646}" srcOrd="0" destOrd="0" presId="urn:microsoft.com/office/officeart/2009/3/layout/HorizontalOrganizationChart"/>
    <dgm:cxn modelId="{54D62994-8198-42C7-9136-9699360C6EBA}" type="presOf" srcId="{FD7FAD90-BB4B-4012-8D13-9F856976AA67}" destId="{EBF8284A-7FED-45F6-9524-71BE7355EC57}" srcOrd="1" destOrd="0" presId="urn:microsoft.com/office/officeart/2009/3/layout/HorizontalOrganizationChart"/>
    <dgm:cxn modelId="{E6A73597-7E1B-45F4-87F8-639B060EE5F9}" srcId="{FD7FAD90-BB4B-4012-8D13-9F856976AA67}" destId="{647BA657-2C44-4DD3-ACA8-DB860AD60348}" srcOrd="0" destOrd="0" parTransId="{5BF516B1-813F-41C9-B29A-1A99CE7BE9CC}" sibTransId="{D87B230C-DCDD-42AB-A435-F5D9D16B1A65}"/>
    <dgm:cxn modelId="{73C1879C-4FD9-40B7-8FE3-F6DF8848BC0F}" type="presOf" srcId="{0FDA490F-0494-4FB5-81EC-714B51D3B996}" destId="{FDC25BEF-5C83-4CFB-83AF-E6EDFD491A94}" srcOrd="0" destOrd="0" presId="urn:microsoft.com/office/officeart/2009/3/layout/HorizontalOrganizationChart"/>
    <dgm:cxn modelId="{746D77B1-B81C-4B9C-9C47-90688C0A9F90}" type="presOf" srcId="{7C1C211D-DF08-4FA2-A593-3F78C8D74D1E}" destId="{45DB4F03-E258-4D63-8A62-5FF930F47F03}" srcOrd="0" destOrd="0" presId="urn:microsoft.com/office/officeart/2009/3/layout/HorizontalOrganizationChart"/>
    <dgm:cxn modelId="{A3225DBE-FBF4-4CA6-9910-43E74A7EDDCD}" srcId="{500D8E4F-2815-497E-8509-B9D2A67FB7E0}" destId="{08EED27D-B691-455A-8D11-8D4400592106}" srcOrd="0" destOrd="0" parTransId="{1BD718C0-8E31-4C02-8936-3DC9E7EB711A}" sibTransId="{7B5F34EC-77F8-4B43-BB2C-33BBF5B01984}"/>
    <dgm:cxn modelId="{953422D0-3B41-42C6-9570-A26B09701186}" type="presOf" srcId="{08EED27D-B691-455A-8D11-8D4400592106}" destId="{732C192C-E27C-40C8-8819-4090783C1701}" srcOrd="1" destOrd="0" presId="urn:microsoft.com/office/officeart/2009/3/layout/HorizontalOrganizationChart"/>
    <dgm:cxn modelId="{D87966D4-82C6-4FD2-B675-EE50A54F6883}" type="presOf" srcId="{6FFBC465-9B1A-4A44-BE49-AFB992EC210B}" destId="{457852C2-B9FC-4EB8-88BF-68AA537E0DFB}" srcOrd="0" destOrd="0" presId="urn:microsoft.com/office/officeart/2009/3/layout/HorizontalOrganizationChart"/>
    <dgm:cxn modelId="{DF2C10EC-927B-4577-917D-D2481912A472}" type="presOf" srcId="{647BA657-2C44-4DD3-ACA8-DB860AD60348}" destId="{EE1A2CE2-8C85-4DC2-B5C2-6FF3F3388EC6}" srcOrd="1" destOrd="0" presId="urn:microsoft.com/office/officeart/2009/3/layout/HorizontalOrganizationChart"/>
    <dgm:cxn modelId="{4AEDCAF3-1FF9-4029-A839-E6372049D773}" type="presOf" srcId="{A0160691-C5F9-44B8-9B17-16C16C30252D}" destId="{D6362239-05DD-421C-83F1-82D1BD0C2550}" srcOrd="0" destOrd="0" presId="urn:microsoft.com/office/officeart/2009/3/layout/HorizontalOrganizationChart"/>
    <dgm:cxn modelId="{7942EEFD-1053-428D-A22D-A2E6A5CEC71F}" srcId="{DD0D810A-461B-43AB-9074-9E97C0408D20}" destId="{FD7FAD90-BB4B-4012-8D13-9F856976AA67}" srcOrd="0" destOrd="0" parTransId="{630DAAD5-A305-4EBB-9899-24FE19ECCAEA}" sibTransId="{EA0BA6A4-443D-48A6-B406-9AD78CBBC07A}"/>
    <dgm:cxn modelId="{886B99FE-F954-4514-921D-F760C48E74D9}" srcId="{FD7FAD90-BB4B-4012-8D13-9F856976AA67}" destId="{7B5656C3-7C05-40A5-9696-04E748223089}" srcOrd="2" destOrd="0" parTransId="{42E17C05-21F0-41B4-B54B-D4B800F4CFDE}" sibTransId="{616C326C-4709-4B48-8294-E5BAFAB16CAC}"/>
    <dgm:cxn modelId="{37CF1767-BBF2-4402-94F0-C3A21EDB4BA3}" type="presParOf" srcId="{5AF7821A-E4E4-49F2-8CDD-D8E21E18D6E7}" destId="{1EC5381C-7822-454D-89B8-C196606F0848}" srcOrd="0" destOrd="0" presId="urn:microsoft.com/office/officeart/2009/3/layout/HorizontalOrganizationChart"/>
    <dgm:cxn modelId="{477CBE24-0A06-45A3-8A8C-8685D9CA32EE}" type="presParOf" srcId="{1EC5381C-7822-454D-89B8-C196606F0848}" destId="{BE4C360D-0695-4556-A8BB-D8E0AAE0D712}" srcOrd="0" destOrd="0" presId="urn:microsoft.com/office/officeart/2009/3/layout/HorizontalOrganizationChart"/>
    <dgm:cxn modelId="{3B581B57-ED75-4D3D-9AF6-83A3D1BC2E36}" type="presParOf" srcId="{BE4C360D-0695-4556-A8BB-D8E0AAE0D712}" destId="{68BD075B-C694-4A97-8ECA-96FB005080EE}" srcOrd="0" destOrd="0" presId="urn:microsoft.com/office/officeart/2009/3/layout/HorizontalOrganizationChart"/>
    <dgm:cxn modelId="{87AD9C40-4006-4FD0-B523-707B6B646712}" type="presParOf" srcId="{BE4C360D-0695-4556-A8BB-D8E0AAE0D712}" destId="{EBF8284A-7FED-45F6-9524-71BE7355EC57}" srcOrd="1" destOrd="0" presId="urn:microsoft.com/office/officeart/2009/3/layout/HorizontalOrganizationChart"/>
    <dgm:cxn modelId="{E6DEC8E4-8FA5-43AA-BEBB-648594C67EC6}" type="presParOf" srcId="{1EC5381C-7822-454D-89B8-C196606F0848}" destId="{87C96744-C259-4D12-9095-009A82984DE0}" srcOrd="1" destOrd="0" presId="urn:microsoft.com/office/officeart/2009/3/layout/HorizontalOrganizationChart"/>
    <dgm:cxn modelId="{6E26F786-0E64-4730-A658-431145BD2E40}" type="presParOf" srcId="{87C96744-C259-4D12-9095-009A82984DE0}" destId="{D513CCCA-A47C-4137-B853-1AC1B040171A}" srcOrd="0" destOrd="0" presId="urn:microsoft.com/office/officeart/2009/3/layout/HorizontalOrganizationChart"/>
    <dgm:cxn modelId="{39B13194-A23E-4B29-ACF6-44B67DE55F03}" type="presParOf" srcId="{87C96744-C259-4D12-9095-009A82984DE0}" destId="{C4117772-9668-45F4-A79C-56F34488F87A}" srcOrd="1" destOrd="0" presId="urn:microsoft.com/office/officeart/2009/3/layout/HorizontalOrganizationChart"/>
    <dgm:cxn modelId="{3C59D02E-5830-4F41-8D40-0B95D7F317A9}" type="presParOf" srcId="{C4117772-9668-45F4-A79C-56F34488F87A}" destId="{8DFCA2D4-EC70-43E4-97D7-88067026677E}" srcOrd="0" destOrd="0" presId="urn:microsoft.com/office/officeart/2009/3/layout/HorizontalOrganizationChart"/>
    <dgm:cxn modelId="{72FF8C90-3081-44F9-9764-0CFC638E65AD}" type="presParOf" srcId="{8DFCA2D4-EC70-43E4-97D7-88067026677E}" destId="{286FD8F5-9FB7-4A8F-BCB6-CD474CCCD646}" srcOrd="0" destOrd="0" presId="urn:microsoft.com/office/officeart/2009/3/layout/HorizontalOrganizationChart"/>
    <dgm:cxn modelId="{D978568D-9371-49D5-8D49-8AD5E88D7C4A}" type="presParOf" srcId="{8DFCA2D4-EC70-43E4-97D7-88067026677E}" destId="{EE1A2CE2-8C85-4DC2-B5C2-6FF3F3388EC6}" srcOrd="1" destOrd="0" presId="urn:microsoft.com/office/officeart/2009/3/layout/HorizontalOrganizationChart"/>
    <dgm:cxn modelId="{EF163288-9015-4C7D-A49C-30FFCFD5A488}" type="presParOf" srcId="{C4117772-9668-45F4-A79C-56F34488F87A}" destId="{64CC68AB-3381-45E3-9906-AD39CBFF3001}" srcOrd="1" destOrd="0" presId="urn:microsoft.com/office/officeart/2009/3/layout/HorizontalOrganizationChart"/>
    <dgm:cxn modelId="{AA3CD6B4-F02D-4C4E-BB1C-48F7CF531A8B}" type="presParOf" srcId="{C4117772-9668-45F4-A79C-56F34488F87A}" destId="{C943301C-5654-414D-82B4-88F40075513C}" srcOrd="2" destOrd="0" presId="urn:microsoft.com/office/officeart/2009/3/layout/HorizontalOrganizationChart"/>
    <dgm:cxn modelId="{263951CD-9F9B-44DB-B2E8-3848D5906176}" type="presParOf" srcId="{87C96744-C259-4D12-9095-009A82984DE0}" destId="{FDC25BEF-5C83-4CFB-83AF-E6EDFD491A94}" srcOrd="2" destOrd="0" presId="urn:microsoft.com/office/officeart/2009/3/layout/HorizontalOrganizationChart"/>
    <dgm:cxn modelId="{E33211D9-23DC-479F-BF72-D8BE5BDFD1A4}" type="presParOf" srcId="{87C96744-C259-4D12-9095-009A82984DE0}" destId="{488E5521-A948-40E4-A340-019861CC9099}" srcOrd="3" destOrd="0" presId="urn:microsoft.com/office/officeart/2009/3/layout/HorizontalOrganizationChart"/>
    <dgm:cxn modelId="{81BF8043-D158-48A0-9520-2D4DDC4260CE}" type="presParOf" srcId="{488E5521-A948-40E4-A340-019861CC9099}" destId="{11BC0E0E-96AB-4EE8-A552-4CE6A3643D05}" srcOrd="0" destOrd="0" presId="urn:microsoft.com/office/officeart/2009/3/layout/HorizontalOrganizationChart"/>
    <dgm:cxn modelId="{7091E699-34A1-41EB-9A0D-88272B93193E}" type="presParOf" srcId="{11BC0E0E-96AB-4EE8-A552-4CE6A3643D05}" destId="{457852C2-B9FC-4EB8-88BF-68AA537E0DFB}" srcOrd="0" destOrd="0" presId="urn:microsoft.com/office/officeart/2009/3/layout/HorizontalOrganizationChart"/>
    <dgm:cxn modelId="{D4949D23-22EB-46E2-BBE2-DC94F32CCF38}" type="presParOf" srcId="{11BC0E0E-96AB-4EE8-A552-4CE6A3643D05}" destId="{97F97EFA-2719-4B7C-8A12-4D9EAC9877E3}" srcOrd="1" destOrd="0" presId="urn:microsoft.com/office/officeart/2009/3/layout/HorizontalOrganizationChart"/>
    <dgm:cxn modelId="{434930E8-5B76-413E-85AE-30CBA58FC146}" type="presParOf" srcId="{488E5521-A948-40E4-A340-019861CC9099}" destId="{94BD17DB-F00F-4D96-B365-DE63979CCFE4}" srcOrd="1" destOrd="0" presId="urn:microsoft.com/office/officeart/2009/3/layout/HorizontalOrganizationChart"/>
    <dgm:cxn modelId="{B8DA15E3-3F53-4658-A3DD-A1EF23B91F9D}" type="presParOf" srcId="{488E5521-A948-40E4-A340-019861CC9099}" destId="{67460F10-13FE-4A49-B241-6A9072ADEA35}" srcOrd="2" destOrd="0" presId="urn:microsoft.com/office/officeart/2009/3/layout/HorizontalOrganizationChart"/>
    <dgm:cxn modelId="{0299F5C6-A3A7-4A14-AC75-92E163A36E4D}" type="presParOf" srcId="{87C96744-C259-4D12-9095-009A82984DE0}" destId="{F67CE4BB-3745-47AB-B95A-714BC82C109F}" srcOrd="4" destOrd="0" presId="urn:microsoft.com/office/officeart/2009/3/layout/HorizontalOrganizationChart"/>
    <dgm:cxn modelId="{DF92D890-4C2B-4ACB-9B6B-8C0C45FCF1EE}" type="presParOf" srcId="{87C96744-C259-4D12-9095-009A82984DE0}" destId="{4E8A01CF-C0C6-4E7D-912E-93E9B28CB6C6}" srcOrd="5" destOrd="0" presId="urn:microsoft.com/office/officeart/2009/3/layout/HorizontalOrganizationChart"/>
    <dgm:cxn modelId="{2A22445E-2C6E-4C8F-8828-2A01209667DB}" type="presParOf" srcId="{4E8A01CF-C0C6-4E7D-912E-93E9B28CB6C6}" destId="{1C9C5E79-8F42-4F62-ACAC-2BF7672A9151}" srcOrd="0" destOrd="0" presId="urn:microsoft.com/office/officeart/2009/3/layout/HorizontalOrganizationChart"/>
    <dgm:cxn modelId="{D31C06DE-2A86-4CC0-B74E-33BA88F1CE27}" type="presParOf" srcId="{1C9C5E79-8F42-4F62-ACAC-2BF7672A9151}" destId="{F2D44061-3F54-46D3-B092-124DCE2E8121}" srcOrd="0" destOrd="0" presId="urn:microsoft.com/office/officeart/2009/3/layout/HorizontalOrganizationChart"/>
    <dgm:cxn modelId="{00FC6159-4673-4326-B5B9-BFC3F8835EF3}" type="presParOf" srcId="{1C9C5E79-8F42-4F62-ACAC-2BF7672A9151}" destId="{4641AED7-81EE-4C53-85BC-B06D989B5298}" srcOrd="1" destOrd="0" presId="urn:microsoft.com/office/officeart/2009/3/layout/HorizontalOrganizationChart"/>
    <dgm:cxn modelId="{63E7E14C-DEA8-49E2-898C-C1B8D164F000}" type="presParOf" srcId="{4E8A01CF-C0C6-4E7D-912E-93E9B28CB6C6}" destId="{64F6B278-DE5B-4C60-8010-3BC18042AE4A}" srcOrd="1" destOrd="0" presId="urn:microsoft.com/office/officeart/2009/3/layout/HorizontalOrganizationChart"/>
    <dgm:cxn modelId="{F37FDE4F-4D1C-462A-9829-09361A2307A5}" type="presParOf" srcId="{4E8A01CF-C0C6-4E7D-912E-93E9B28CB6C6}" destId="{93D1D8A8-58B4-4DD7-97B2-8F65889E7488}" srcOrd="2" destOrd="0" presId="urn:microsoft.com/office/officeart/2009/3/layout/HorizontalOrganizationChart"/>
    <dgm:cxn modelId="{413F0A4B-3B03-420A-A65C-A23D187B0870}" type="presParOf" srcId="{1EC5381C-7822-454D-89B8-C196606F0848}" destId="{C164E9D4-E4CB-4563-AFBC-C1531A74DD65}" srcOrd="2" destOrd="0" presId="urn:microsoft.com/office/officeart/2009/3/layout/HorizontalOrganizationChart"/>
    <dgm:cxn modelId="{39344166-86AD-499C-99D2-EC6828FA2F3A}" type="presParOf" srcId="{5AF7821A-E4E4-49F2-8CDD-D8E21E18D6E7}" destId="{37F4E887-9AB5-4A1B-8AB7-17A4FB4763A2}" srcOrd="1" destOrd="0" presId="urn:microsoft.com/office/officeart/2009/3/layout/HorizontalOrganizationChart"/>
    <dgm:cxn modelId="{F77DEBF9-EF60-41C4-8EBB-8D2C065EDFD0}" type="presParOf" srcId="{37F4E887-9AB5-4A1B-8AB7-17A4FB4763A2}" destId="{1EB84C42-2042-405B-ABF4-B84C590152FD}" srcOrd="0" destOrd="0" presId="urn:microsoft.com/office/officeart/2009/3/layout/HorizontalOrganizationChart"/>
    <dgm:cxn modelId="{130D1F6C-0E9E-4FC5-A28A-3C055D17CE12}" type="presParOf" srcId="{1EB84C42-2042-405B-ABF4-B84C590152FD}" destId="{7C97E42F-1B16-46A9-9A74-EEA8016BCEF7}" srcOrd="0" destOrd="0" presId="urn:microsoft.com/office/officeart/2009/3/layout/HorizontalOrganizationChart"/>
    <dgm:cxn modelId="{1322D52C-ADC4-4024-8BC9-0D2E88E4F2AD}" type="presParOf" srcId="{1EB84C42-2042-405B-ABF4-B84C590152FD}" destId="{1BD0D4E9-0148-42E6-ABF9-A9ADB864F0E4}" srcOrd="1" destOrd="0" presId="urn:microsoft.com/office/officeart/2009/3/layout/HorizontalOrganizationChart"/>
    <dgm:cxn modelId="{BE64D6FE-743F-4586-A89D-0504BC595B7C}" type="presParOf" srcId="{37F4E887-9AB5-4A1B-8AB7-17A4FB4763A2}" destId="{E94F53F7-97C9-4733-BF76-7FA0EC78946E}" srcOrd="1" destOrd="0" presId="urn:microsoft.com/office/officeart/2009/3/layout/HorizontalOrganizationChart"/>
    <dgm:cxn modelId="{1A6A58F2-E796-40F2-9D41-8B2090544CD6}" type="presParOf" srcId="{E94F53F7-97C9-4733-BF76-7FA0EC78946E}" destId="{B424F5A6-E31E-4538-B20B-89CB9CA6EB53}" srcOrd="0" destOrd="0" presId="urn:microsoft.com/office/officeart/2009/3/layout/HorizontalOrganizationChart"/>
    <dgm:cxn modelId="{FFED0A66-8893-4797-B8B1-FBB51A652055}" type="presParOf" srcId="{E94F53F7-97C9-4733-BF76-7FA0EC78946E}" destId="{3A8DF9DB-2E77-4DAB-BC0B-B92EB1FF8BC5}" srcOrd="1" destOrd="0" presId="urn:microsoft.com/office/officeart/2009/3/layout/HorizontalOrganizationChart"/>
    <dgm:cxn modelId="{40B8E628-CFF2-496F-8AD0-365CCFC0B6AA}" type="presParOf" srcId="{3A8DF9DB-2E77-4DAB-BC0B-B92EB1FF8BC5}" destId="{4C41DFD4-F6DF-4612-830C-2F909B3A1F5B}" srcOrd="0" destOrd="0" presId="urn:microsoft.com/office/officeart/2009/3/layout/HorizontalOrganizationChart"/>
    <dgm:cxn modelId="{656AD677-34D2-4155-901B-1792CB9D1E0E}" type="presParOf" srcId="{4C41DFD4-F6DF-4612-830C-2F909B3A1F5B}" destId="{F7B5F65C-7F4E-4947-B4BA-38FBE2BE4761}" srcOrd="0" destOrd="0" presId="urn:microsoft.com/office/officeart/2009/3/layout/HorizontalOrganizationChart"/>
    <dgm:cxn modelId="{BB773B48-3AD4-4DF2-B82E-1C2BD607F097}" type="presParOf" srcId="{4C41DFD4-F6DF-4612-830C-2F909B3A1F5B}" destId="{732C192C-E27C-40C8-8819-4090783C1701}" srcOrd="1" destOrd="0" presId="urn:microsoft.com/office/officeart/2009/3/layout/HorizontalOrganizationChart"/>
    <dgm:cxn modelId="{AFC81B30-3E09-4612-A439-937F613AE544}" type="presParOf" srcId="{3A8DF9DB-2E77-4DAB-BC0B-B92EB1FF8BC5}" destId="{948BF28F-AF9F-45A9-BA48-BBDF682A2667}" srcOrd="1" destOrd="0" presId="urn:microsoft.com/office/officeart/2009/3/layout/HorizontalOrganizationChart"/>
    <dgm:cxn modelId="{9366408E-1160-4075-9D36-8FA2E0609471}" type="presParOf" srcId="{3A8DF9DB-2E77-4DAB-BC0B-B92EB1FF8BC5}" destId="{C9D9FA34-D2C9-4FCE-A862-266806C57C43}" srcOrd="2" destOrd="0" presId="urn:microsoft.com/office/officeart/2009/3/layout/HorizontalOrganizationChart"/>
    <dgm:cxn modelId="{41664DD7-DEA5-4612-91BE-D000F02457E1}" type="presParOf" srcId="{E94F53F7-97C9-4733-BF76-7FA0EC78946E}" destId="{45DB4F03-E258-4D63-8A62-5FF930F47F03}" srcOrd="2" destOrd="0" presId="urn:microsoft.com/office/officeart/2009/3/layout/HorizontalOrganizationChart"/>
    <dgm:cxn modelId="{E4352F24-4ED6-4755-8F0F-AE8667ECC030}" type="presParOf" srcId="{E94F53F7-97C9-4733-BF76-7FA0EC78946E}" destId="{9266E2E1-1F1B-4F85-9C4F-6554D436EE45}" srcOrd="3" destOrd="0" presId="urn:microsoft.com/office/officeart/2009/3/layout/HorizontalOrganizationChart"/>
    <dgm:cxn modelId="{E8F0BA40-6422-4AC4-AF45-3B47A140098D}" type="presParOf" srcId="{9266E2E1-1F1B-4F85-9C4F-6554D436EE45}" destId="{216C5E56-E98A-4B22-9642-30034A99DD26}" srcOrd="0" destOrd="0" presId="urn:microsoft.com/office/officeart/2009/3/layout/HorizontalOrganizationChart"/>
    <dgm:cxn modelId="{079A2F8C-B794-4A4C-AB44-D6EA4CF315E5}" type="presParOf" srcId="{216C5E56-E98A-4B22-9642-30034A99DD26}" destId="{D6362239-05DD-421C-83F1-82D1BD0C2550}" srcOrd="0" destOrd="0" presId="urn:microsoft.com/office/officeart/2009/3/layout/HorizontalOrganizationChart"/>
    <dgm:cxn modelId="{127AD545-3EB5-465B-83E1-B20EF7CA0816}" type="presParOf" srcId="{216C5E56-E98A-4B22-9642-30034A99DD26}" destId="{F851179B-8172-4F3C-9D37-D3F7FB0EF475}" srcOrd="1" destOrd="0" presId="urn:microsoft.com/office/officeart/2009/3/layout/HorizontalOrganizationChart"/>
    <dgm:cxn modelId="{889533F2-8ACF-4054-94D6-F774C4F3B2D3}" type="presParOf" srcId="{9266E2E1-1F1B-4F85-9C4F-6554D436EE45}" destId="{0A8380AA-7806-4D64-9DD4-19FEC110BACA}" srcOrd="1" destOrd="0" presId="urn:microsoft.com/office/officeart/2009/3/layout/HorizontalOrganizationChart"/>
    <dgm:cxn modelId="{52F3BB15-074F-41C6-B2AF-9867154D55EF}" type="presParOf" srcId="{9266E2E1-1F1B-4F85-9C4F-6554D436EE45}" destId="{23C782FC-9ED0-4043-B330-7ACFA08C24C4}" srcOrd="2" destOrd="0" presId="urn:microsoft.com/office/officeart/2009/3/layout/HorizontalOrganizationChart"/>
    <dgm:cxn modelId="{6559968A-BAB2-40D2-9A5C-FFEA7FD87F4A}" type="presParOf" srcId="{37F4E887-9AB5-4A1B-8AB7-17A4FB4763A2}" destId="{471D85D6-706C-4286-9953-9A06F09429A9}" srcOrd="2" destOrd="0" presId="urn:microsoft.com/office/officeart/2009/3/layout/HorizontalOrganizationChart"/>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0D810A-461B-43AB-9074-9E97C0408D20}" type="doc">
      <dgm:prSet loTypeId="urn:microsoft.com/office/officeart/2009/3/layout/HorizontalOrganizationChart" loCatId="hierarchy" qsTypeId="urn:microsoft.com/office/officeart/2005/8/quickstyle/simple1" qsCatId="simple" csTypeId="urn:microsoft.com/office/officeart/2005/8/colors/accent2_2" csCatId="accent2" phldr="1"/>
      <dgm:spPr/>
      <dgm:t>
        <a:bodyPr/>
        <a:lstStyle/>
        <a:p>
          <a:endParaRPr lang="en-US"/>
        </a:p>
      </dgm:t>
    </dgm:pt>
    <dgm:pt modelId="{FD7FAD90-BB4B-4012-8D13-9F856976AA67}">
      <dgm:prSet custT="1"/>
      <dgm:spPr>
        <a:solidFill>
          <a:schemeClr val="bg2">
            <a:lumMod val="60000"/>
            <a:lumOff val="40000"/>
          </a:schemeClr>
        </a:solidFill>
      </dgm:spPr>
      <dgm:t>
        <a:bodyPr/>
        <a:lstStyle/>
        <a:p>
          <a:r>
            <a:rPr lang="en-US" sz="1100" b="1" dirty="0">
              <a:solidFill>
                <a:schemeClr val="bg1"/>
              </a:solidFill>
            </a:rPr>
            <a:t>1115 waiver</a:t>
          </a:r>
        </a:p>
      </dgm:t>
    </dgm:pt>
    <dgm:pt modelId="{630DAAD5-A305-4EBB-9899-24FE19ECCAEA}" type="parTrans" cxnId="{7942EEFD-1053-428D-A22D-A2E6A5CEC71F}">
      <dgm:prSet/>
      <dgm:spPr/>
      <dgm:t>
        <a:bodyPr/>
        <a:lstStyle/>
        <a:p>
          <a:endParaRPr lang="en-US" sz="1100" b="1"/>
        </a:p>
      </dgm:t>
    </dgm:pt>
    <dgm:pt modelId="{EA0BA6A4-443D-48A6-B406-9AD78CBBC07A}" type="sibTrans" cxnId="{7942EEFD-1053-428D-A22D-A2E6A5CEC71F}">
      <dgm:prSet/>
      <dgm:spPr/>
      <dgm:t>
        <a:bodyPr/>
        <a:lstStyle/>
        <a:p>
          <a:endParaRPr lang="en-US" sz="1100" b="1"/>
        </a:p>
      </dgm:t>
    </dgm:pt>
    <dgm:pt modelId="{647BA657-2C44-4DD3-ACA8-DB860AD60348}">
      <dgm:prSet custT="1"/>
      <dgm:spPr>
        <a:solidFill>
          <a:schemeClr val="bg2">
            <a:lumMod val="60000"/>
            <a:lumOff val="40000"/>
          </a:schemeClr>
        </a:solidFill>
        <a:ln>
          <a:noFill/>
        </a:ln>
      </dgm:spPr>
      <dgm:t>
        <a:bodyPr/>
        <a:lstStyle/>
        <a:p>
          <a:r>
            <a:rPr lang="en-US" sz="1100" b="1" dirty="0">
              <a:solidFill>
                <a:schemeClr val="bg1"/>
              </a:solidFill>
            </a:rPr>
            <a:t>Approved</a:t>
          </a:r>
        </a:p>
      </dgm:t>
    </dgm:pt>
    <dgm:pt modelId="{5BF516B1-813F-41C9-B29A-1A99CE7BE9CC}" type="parTrans" cxnId="{E6A73597-7E1B-45F4-87F8-639B060EE5F9}">
      <dgm:prSet/>
      <dgm:spPr/>
      <dgm:t>
        <a:bodyPr/>
        <a:lstStyle/>
        <a:p>
          <a:endParaRPr lang="en-US" sz="1100" b="1"/>
        </a:p>
      </dgm:t>
    </dgm:pt>
    <dgm:pt modelId="{D87B230C-DCDD-42AB-A435-F5D9D16B1A65}" type="sibTrans" cxnId="{E6A73597-7E1B-45F4-87F8-639B060EE5F9}">
      <dgm:prSet/>
      <dgm:spPr/>
      <dgm:t>
        <a:bodyPr/>
        <a:lstStyle/>
        <a:p>
          <a:endParaRPr lang="en-US" sz="1100" b="1"/>
        </a:p>
      </dgm:t>
    </dgm:pt>
    <dgm:pt modelId="{6FFBC465-9B1A-4A44-BE49-AFB992EC210B}">
      <dgm:prSet custT="1"/>
      <dgm:spPr>
        <a:solidFill>
          <a:schemeClr val="bg2">
            <a:lumMod val="60000"/>
            <a:lumOff val="40000"/>
          </a:schemeClr>
        </a:solidFill>
        <a:ln>
          <a:noFill/>
        </a:ln>
      </dgm:spPr>
      <dgm:t>
        <a:bodyPr/>
        <a:lstStyle/>
        <a:p>
          <a:r>
            <a:rPr lang="en-US" sz="1100" b="1" dirty="0">
              <a:solidFill>
                <a:schemeClr val="bg1"/>
              </a:solidFill>
            </a:rPr>
            <a:t>Denied</a:t>
          </a:r>
        </a:p>
      </dgm:t>
    </dgm:pt>
    <dgm:pt modelId="{0FDA490F-0494-4FB5-81EC-714B51D3B996}" type="parTrans" cxnId="{0334A876-BD77-4241-B64A-318B24FCFBD7}">
      <dgm:prSet/>
      <dgm:spPr/>
      <dgm:t>
        <a:bodyPr/>
        <a:lstStyle/>
        <a:p>
          <a:endParaRPr lang="en-US" sz="1100" b="1"/>
        </a:p>
      </dgm:t>
    </dgm:pt>
    <dgm:pt modelId="{FA077E5F-40AE-488D-A0A2-3F722A5D63AC}" type="sibTrans" cxnId="{0334A876-BD77-4241-B64A-318B24FCFBD7}">
      <dgm:prSet/>
      <dgm:spPr/>
      <dgm:t>
        <a:bodyPr/>
        <a:lstStyle/>
        <a:p>
          <a:endParaRPr lang="en-US" sz="1100" b="1"/>
        </a:p>
      </dgm:t>
    </dgm:pt>
    <dgm:pt modelId="{7B5656C3-7C05-40A5-9696-04E748223089}">
      <dgm:prSet custT="1"/>
      <dgm:spPr>
        <a:solidFill>
          <a:schemeClr val="bg2">
            <a:lumMod val="60000"/>
            <a:lumOff val="40000"/>
          </a:schemeClr>
        </a:solidFill>
        <a:ln>
          <a:noFill/>
        </a:ln>
      </dgm:spPr>
      <dgm:t>
        <a:bodyPr/>
        <a:lstStyle/>
        <a:p>
          <a:r>
            <a:rPr lang="en-US" sz="1100" b="1" dirty="0">
              <a:solidFill>
                <a:schemeClr val="bg1"/>
              </a:solidFill>
            </a:rPr>
            <a:t>Delay*</a:t>
          </a:r>
        </a:p>
      </dgm:t>
    </dgm:pt>
    <dgm:pt modelId="{42E17C05-21F0-41B4-B54B-D4B800F4CFDE}" type="parTrans" cxnId="{886B99FE-F954-4514-921D-F760C48E74D9}">
      <dgm:prSet/>
      <dgm:spPr/>
      <dgm:t>
        <a:bodyPr/>
        <a:lstStyle/>
        <a:p>
          <a:endParaRPr lang="en-US" sz="1100" b="1"/>
        </a:p>
      </dgm:t>
    </dgm:pt>
    <dgm:pt modelId="{616C326C-4709-4B48-8294-E5BAFAB16CAC}" type="sibTrans" cxnId="{886B99FE-F954-4514-921D-F760C48E74D9}">
      <dgm:prSet/>
      <dgm:spPr/>
      <dgm:t>
        <a:bodyPr/>
        <a:lstStyle/>
        <a:p>
          <a:endParaRPr lang="en-US" sz="1100" b="1"/>
        </a:p>
      </dgm:t>
    </dgm:pt>
    <dgm:pt modelId="{5AF7821A-E4E4-49F2-8CDD-D8E21E18D6E7}" type="pres">
      <dgm:prSet presAssocID="{DD0D810A-461B-43AB-9074-9E97C0408D20}" presName="hierChild1" presStyleCnt="0">
        <dgm:presLayoutVars>
          <dgm:orgChart val="1"/>
          <dgm:chPref val="1"/>
          <dgm:dir/>
          <dgm:animOne val="branch"/>
          <dgm:animLvl val="lvl"/>
          <dgm:resizeHandles/>
        </dgm:presLayoutVars>
      </dgm:prSet>
      <dgm:spPr/>
    </dgm:pt>
    <dgm:pt modelId="{1EC5381C-7822-454D-89B8-C196606F0848}" type="pres">
      <dgm:prSet presAssocID="{FD7FAD90-BB4B-4012-8D13-9F856976AA67}" presName="hierRoot1" presStyleCnt="0">
        <dgm:presLayoutVars>
          <dgm:hierBranch val="init"/>
        </dgm:presLayoutVars>
      </dgm:prSet>
      <dgm:spPr/>
    </dgm:pt>
    <dgm:pt modelId="{BE4C360D-0695-4556-A8BB-D8E0AAE0D712}" type="pres">
      <dgm:prSet presAssocID="{FD7FAD90-BB4B-4012-8D13-9F856976AA67}" presName="rootComposite1" presStyleCnt="0"/>
      <dgm:spPr/>
    </dgm:pt>
    <dgm:pt modelId="{68BD075B-C694-4A97-8ECA-96FB005080EE}" type="pres">
      <dgm:prSet presAssocID="{FD7FAD90-BB4B-4012-8D13-9F856976AA67}" presName="rootText1" presStyleLbl="node0" presStyleIdx="0" presStyleCnt="1">
        <dgm:presLayoutVars>
          <dgm:chPref val="3"/>
        </dgm:presLayoutVars>
      </dgm:prSet>
      <dgm:spPr>
        <a:prstGeom prst="roundRect">
          <a:avLst/>
        </a:prstGeom>
      </dgm:spPr>
    </dgm:pt>
    <dgm:pt modelId="{EBF8284A-7FED-45F6-9524-71BE7355EC57}" type="pres">
      <dgm:prSet presAssocID="{FD7FAD90-BB4B-4012-8D13-9F856976AA67}" presName="rootConnector1" presStyleLbl="node1" presStyleIdx="0" presStyleCnt="0"/>
      <dgm:spPr/>
    </dgm:pt>
    <dgm:pt modelId="{87C96744-C259-4D12-9095-009A82984DE0}" type="pres">
      <dgm:prSet presAssocID="{FD7FAD90-BB4B-4012-8D13-9F856976AA67}" presName="hierChild2" presStyleCnt="0"/>
      <dgm:spPr/>
    </dgm:pt>
    <dgm:pt modelId="{D513CCCA-A47C-4137-B853-1AC1B040171A}" type="pres">
      <dgm:prSet presAssocID="{5BF516B1-813F-41C9-B29A-1A99CE7BE9CC}" presName="Name64" presStyleLbl="parChTrans1D2" presStyleIdx="0" presStyleCnt="3"/>
      <dgm:spPr/>
    </dgm:pt>
    <dgm:pt modelId="{C4117772-9668-45F4-A79C-56F34488F87A}" type="pres">
      <dgm:prSet presAssocID="{647BA657-2C44-4DD3-ACA8-DB860AD60348}" presName="hierRoot2" presStyleCnt="0">
        <dgm:presLayoutVars>
          <dgm:hierBranch val="init"/>
        </dgm:presLayoutVars>
      </dgm:prSet>
      <dgm:spPr/>
    </dgm:pt>
    <dgm:pt modelId="{8DFCA2D4-EC70-43E4-97D7-88067026677E}" type="pres">
      <dgm:prSet presAssocID="{647BA657-2C44-4DD3-ACA8-DB860AD60348}" presName="rootComposite" presStyleCnt="0"/>
      <dgm:spPr/>
    </dgm:pt>
    <dgm:pt modelId="{286FD8F5-9FB7-4A8F-BCB6-CD474CCCD646}" type="pres">
      <dgm:prSet presAssocID="{647BA657-2C44-4DD3-ACA8-DB860AD60348}" presName="rootText" presStyleLbl="node2" presStyleIdx="0" presStyleCnt="3">
        <dgm:presLayoutVars>
          <dgm:chPref val="3"/>
        </dgm:presLayoutVars>
      </dgm:prSet>
      <dgm:spPr>
        <a:prstGeom prst="ellipse">
          <a:avLst/>
        </a:prstGeom>
      </dgm:spPr>
    </dgm:pt>
    <dgm:pt modelId="{EE1A2CE2-8C85-4DC2-B5C2-6FF3F3388EC6}" type="pres">
      <dgm:prSet presAssocID="{647BA657-2C44-4DD3-ACA8-DB860AD60348}" presName="rootConnector" presStyleLbl="node2" presStyleIdx="0" presStyleCnt="3"/>
      <dgm:spPr/>
    </dgm:pt>
    <dgm:pt modelId="{64CC68AB-3381-45E3-9906-AD39CBFF3001}" type="pres">
      <dgm:prSet presAssocID="{647BA657-2C44-4DD3-ACA8-DB860AD60348}" presName="hierChild4" presStyleCnt="0"/>
      <dgm:spPr/>
    </dgm:pt>
    <dgm:pt modelId="{C943301C-5654-414D-82B4-88F40075513C}" type="pres">
      <dgm:prSet presAssocID="{647BA657-2C44-4DD3-ACA8-DB860AD60348}" presName="hierChild5" presStyleCnt="0"/>
      <dgm:spPr/>
    </dgm:pt>
    <dgm:pt modelId="{FDC25BEF-5C83-4CFB-83AF-E6EDFD491A94}" type="pres">
      <dgm:prSet presAssocID="{0FDA490F-0494-4FB5-81EC-714B51D3B996}" presName="Name64" presStyleLbl="parChTrans1D2" presStyleIdx="1" presStyleCnt="3"/>
      <dgm:spPr/>
    </dgm:pt>
    <dgm:pt modelId="{488E5521-A948-40E4-A340-019861CC9099}" type="pres">
      <dgm:prSet presAssocID="{6FFBC465-9B1A-4A44-BE49-AFB992EC210B}" presName="hierRoot2" presStyleCnt="0">
        <dgm:presLayoutVars>
          <dgm:hierBranch val="init"/>
        </dgm:presLayoutVars>
      </dgm:prSet>
      <dgm:spPr/>
    </dgm:pt>
    <dgm:pt modelId="{11BC0E0E-96AB-4EE8-A552-4CE6A3643D05}" type="pres">
      <dgm:prSet presAssocID="{6FFBC465-9B1A-4A44-BE49-AFB992EC210B}" presName="rootComposite" presStyleCnt="0"/>
      <dgm:spPr/>
    </dgm:pt>
    <dgm:pt modelId="{457852C2-B9FC-4EB8-88BF-68AA537E0DFB}" type="pres">
      <dgm:prSet presAssocID="{6FFBC465-9B1A-4A44-BE49-AFB992EC210B}" presName="rootText" presStyleLbl="node2" presStyleIdx="1" presStyleCnt="3">
        <dgm:presLayoutVars>
          <dgm:chPref val="3"/>
        </dgm:presLayoutVars>
      </dgm:prSet>
      <dgm:spPr>
        <a:prstGeom prst="ellipse">
          <a:avLst/>
        </a:prstGeom>
      </dgm:spPr>
    </dgm:pt>
    <dgm:pt modelId="{97F97EFA-2719-4B7C-8A12-4D9EAC9877E3}" type="pres">
      <dgm:prSet presAssocID="{6FFBC465-9B1A-4A44-BE49-AFB992EC210B}" presName="rootConnector" presStyleLbl="node2" presStyleIdx="1" presStyleCnt="3"/>
      <dgm:spPr/>
    </dgm:pt>
    <dgm:pt modelId="{94BD17DB-F00F-4D96-B365-DE63979CCFE4}" type="pres">
      <dgm:prSet presAssocID="{6FFBC465-9B1A-4A44-BE49-AFB992EC210B}" presName="hierChild4" presStyleCnt="0"/>
      <dgm:spPr/>
    </dgm:pt>
    <dgm:pt modelId="{67460F10-13FE-4A49-B241-6A9072ADEA35}" type="pres">
      <dgm:prSet presAssocID="{6FFBC465-9B1A-4A44-BE49-AFB992EC210B}" presName="hierChild5" presStyleCnt="0"/>
      <dgm:spPr/>
    </dgm:pt>
    <dgm:pt modelId="{F67CE4BB-3745-47AB-B95A-714BC82C109F}" type="pres">
      <dgm:prSet presAssocID="{42E17C05-21F0-41B4-B54B-D4B800F4CFDE}" presName="Name64" presStyleLbl="parChTrans1D2" presStyleIdx="2" presStyleCnt="3"/>
      <dgm:spPr/>
    </dgm:pt>
    <dgm:pt modelId="{4E8A01CF-C0C6-4E7D-912E-93E9B28CB6C6}" type="pres">
      <dgm:prSet presAssocID="{7B5656C3-7C05-40A5-9696-04E748223089}" presName="hierRoot2" presStyleCnt="0">
        <dgm:presLayoutVars>
          <dgm:hierBranch val="init"/>
        </dgm:presLayoutVars>
      </dgm:prSet>
      <dgm:spPr/>
    </dgm:pt>
    <dgm:pt modelId="{1C9C5E79-8F42-4F62-ACAC-2BF7672A9151}" type="pres">
      <dgm:prSet presAssocID="{7B5656C3-7C05-40A5-9696-04E748223089}" presName="rootComposite" presStyleCnt="0"/>
      <dgm:spPr/>
    </dgm:pt>
    <dgm:pt modelId="{F2D44061-3F54-46D3-B092-124DCE2E8121}" type="pres">
      <dgm:prSet presAssocID="{7B5656C3-7C05-40A5-9696-04E748223089}" presName="rootText" presStyleLbl="node2" presStyleIdx="2" presStyleCnt="3" custScaleY="99019">
        <dgm:presLayoutVars>
          <dgm:chPref val="3"/>
        </dgm:presLayoutVars>
      </dgm:prSet>
      <dgm:spPr>
        <a:prstGeom prst="ellipse">
          <a:avLst/>
        </a:prstGeom>
      </dgm:spPr>
    </dgm:pt>
    <dgm:pt modelId="{4641AED7-81EE-4C53-85BC-B06D989B5298}" type="pres">
      <dgm:prSet presAssocID="{7B5656C3-7C05-40A5-9696-04E748223089}" presName="rootConnector" presStyleLbl="node2" presStyleIdx="2" presStyleCnt="3"/>
      <dgm:spPr/>
    </dgm:pt>
    <dgm:pt modelId="{64F6B278-DE5B-4C60-8010-3BC18042AE4A}" type="pres">
      <dgm:prSet presAssocID="{7B5656C3-7C05-40A5-9696-04E748223089}" presName="hierChild4" presStyleCnt="0"/>
      <dgm:spPr/>
    </dgm:pt>
    <dgm:pt modelId="{93D1D8A8-58B4-4DD7-97B2-8F65889E7488}" type="pres">
      <dgm:prSet presAssocID="{7B5656C3-7C05-40A5-9696-04E748223089}" presName="hierChild5" presStyleCnt="0"/>
      <dgm:spPr/>
    </dgm:pt>
    <dgm:pt modelId="{C164E9D4-E4CB-4563-AFBC-C1531A74DD65}" type="pres">
      <dgm:prSet presAssocID="{FD7FAD90-BB4B-4012-8D13-9F856976AA67}" presName="hierChild3" presStyleCnt="0"/>
      <dgm:spPr/>
    </dgm:pt>
  </dgm:ptLst>
  <dgm:cxnLst>
    <dgm:cxn modelId="{83721502-AC3B-41AC-B094-659EC96D98A4}" type="presOf" srcId="{7B5656C3-7C05-40A5-9696-04E748223089}" destId="{F2D44061-3F54-46D3-B092-124DCE2E8121}" srcOrd="0" destOrd="0" presId="urn:microsoft.com/office/officeart/2009/3/layout/HorizontalOrganizationChart"/>
    <dgm:cxn modelId="{DB7FEA11-C747-48FD-AC23-59868799067C}" type="presOf" srcId="{0FDA490F-0494-4FB5-81EC-714B51D3B996}" destId="{FDC25BEF-5C83-4CFB-83AF-E6EDFD491A94}" srcOrd="0" destOrd="0" presId="urn:microsoft.com/office/officeart/2009/3/layout/HorizontalOrganizationChart"/>
    <dgm:cxn modelId="{E226CC47-4FCD-448F-B713-541B6D55EBF3}" type="presOf" srcId="{7B5656C3-7C05-40A5-9696-04E748223089}" destId="{4641AED7-81EE-4C53-85BC-B06D989B5298}" srcOrd="1" destOrd="0" presId="urn:microsoft.com/office/officeart/2009/3/layout/HorizontalOrganizationChart"/>
    <dgm:cxn modelId="{EF80C14E-0277-4FF8-8CC9-ED6B980F5099}" type="presOf" srcId="{5BF516B1-813F-41C9-B29A-1A99CE7BE9CC}" destId="{D513CCCA-A47C-4137-B853-1AC1B040171A}" srcOrd="0" destOrd="0" presId="urn:microsoft.com/office/officeart/2009/3/layout/HorizontalOrganizationChart"/>
    <dgm:cxn modelId="{0334A876-BD77-4241-B64A-318B24FCFBD7}" srcId="{FD7FAD90-BB4B-4012-8D13-9F856976AA67}" destId="{6FFBC465-9B1A-4A44-BE49-AFB992EC210B}" srcOrd="1" destOrd="0" parTransId="{0FDA490F-0494-4FB5-81EC-714B51D3B996}" sibTransId="{FA077E5F-40AE-488D-A0A2-3F722A5D63AC}"/>
    <dgm:cxn modelId="{E2673691-51D0-49A9-9AAE-875B436AB934}" type="presOf" srcId="{FD7FAD90-BB4B-4012-8D13-9F856976AA67}" destId="{EBF8284A-7FED-45F6-9524-71BE7355EC57}" srcOrd="1" destOrd="0" presId="urn:microsoft.com/office/officeart/2009/3/layout/HorizontalOrganizationChart"/>
    <dgm:cxn modelId="{5AB76A91-4DE5-43DE-AC20-0798BB411342}" type="presOf" srcId="{6FFBC465-9B1A-4A44-BE49-AFB992EC210B}" destId="{97F97EFA-2719-4B7C-8A12-4D9EAC9877E3}" srcOrd="1" destOrd="0" presId="urn:microsoft.com/office/officeart/2009/3/layout/HorizontalOrganizationChart"/>
    <dgm:cxn modelId="{E6A73597-7E1B-45F4-87F8-639B060EE5F9}" srcId="{FD7FAD90-BB4B-4012-8D13-9F856976AA67}" destId="{647BA657-2C44-4DD3-ACA8-DB860AD60348}" srcOrd="0" destOrd="0" parTransId="{5BF516B1-813F-41C9-B29A-1A99CE7BE9CC}" sibTransId="{D87B230C-DCDD-42AB-A435-F5D9D16B1A65}"/>
    <dgm:cxn modelId="{1C3FDDA0-4192-4111-B11F-7783A4DE38D6}" type="presOf" srcId="{DD0D810A-461B-43AB-9074-9E97C0408D20}" destId="{5AF7821A-E4E4-49F2-8CDD-D8E21E18D6E7}" srcOrd="0" destOrd="0" presId="urn:microsoft.com/office/officeart/2009/3/layout/HorizontalOrganizationChart"/>
    <dgm:cxn modelId="{C1847CB8-C7BC-4A54-A7CF-7DEE60502AE3}" type="presOf" srcId="{FD7FAD90-BB4B-4012-8D13-9F856976AA67}" destId="{68BD075B-C694-4A97-8ECA-96FB005080EE}" srcOrd="0" destOrd="0" presId="urn:microsoft.com/office/officeart/2009/3/layout/HorizontalOrganizationChart"/>
    <dgm:cxn modelId="{A0379BBA-611B-4138-BD89-F6C6E1C040C4}" type="presOf" srcId="{6FFBC465-9B1A-4A44-BE49-AFB992EC210B}" destId="{457852C2-B9FC-4EB8-88BF-68AA537E0DFB}" srcOrd="0" destOrd="0" presId="urn:microsoft.com/office/officeart/2009/3/layout/HorizontalOrganizationChart"/>
    <dgm:cxn modelId="{1F0E11E4-95C3-4596-9E9A-84484CC9C301}" type="presOf" srcId="{647BA657-2C44-4DD3-ACA8-DB860AD60348}" destId="{286FD8F5-9FB7-4A8F-BCB6-CD474CCCD646}" srcOrd="0" destOrd="0" presId="urn:microsoft.com/office/officeart/2009/3/layout/HorizontalOrganizationChart"/>
    <dgm:cxn modelId="{FA9A54EC-2396-40A5-BEAC-24DCA6F1548B}" type="presOf" srcId="{42E17C05-21F0-41B4-B54B-D4B800F4CFDE}" destId="{F67CE4BB-3745-47AB-B95A-714BC82C109F}" srcOrd="0" destOrd="0" presId="urn:microsoft.com/office/officeart/2009/3/layout/HorizontalOrganizationChart"/>
    <dgm:cxn modelId="{6BFC9EF0-B5FA-4F8A-90F4-3F6BC7DE903B}" type="presOf" srcId="{647BA657-2C44-4DD3-ACA8-DB860AD60348}" destId="{EE1A2CE2-8C85-4DC2-B5C2-6FF3F3388EC6}" srcOrd="1" destOrd="0" presId="urn:microsoft.com/office/officeart/2009/3/layout/HorizontalOrganizationChart"/>
    <dgm:cxn modelId="{7942EEFD-1053-428D-A22D-A2E6A5CEC71F}" srcId="{DD0D810A-461B-43AB-9074-9E97C0408D20}" destId="{FD7FAD90-BB4B-4012-8D13-9F856976AA67}" srcOrd="0" destOrd="0" parTransId="{630DAAD5-A305-4EBB-9899-24FE19ECCAEA}" sibTransId="{EA0BA6A4-443D-48A6-B406-9AD78CBBC07A}"/>
    <dgm:cxn modelId="{886B99FE-F954-4514-921D-F760C48E74D9}" srcId="{FD7FAD90-BB4B-4012-8D13-9F856976AA67}" destId="{7B5656C3-7C05-40A5-9696-04E748223089}" srcOrd="2" destOrd="0" parTransId="{42E17C05-21F0-41B4-B54B-D4B800F4CFDE}" sibTransId="{616C326C-4709-4B48-8294-E5BAFAB16CAC}"/>
    <dgm:cxn modelId="{E70ABA44-29D1-40C4-8462-B9FE9AF7FBAA}" type="presParOf" srcId="{5AF7821A-E4E4-49F2-8CDD-D8E21E18D6E7}" destId="{1EC5381C-7822-454D-89B8-C196606F0848}" srcOrd="0" destOrd="0" presId="urn:microsoft.com/office/officeart/2009/3/layout/HorizontalOrganizationChart"/>
    <dgm:cxn modelId="{10E302EF-F17A-45EB-9083-B1E13FF4DE82}" type="presParOf" srcId="{1EC5381C-7822-454D-89B8-C196606F0848}" destId="{BE4C360D-0695-4556-A8BB-D8E0AAE0D712}" srcOrd="0" destOrd="0" presId="urn:microsoft.com/office/officeart/2009/3/layout/HorizontalOrganizationChart"/>
    <dgm:cxn modelId="{99A7EA60-9F7E-43DB-AAE0-EAA953A376C4}" type="presParOf" srcId="{BE4C360D-0695-4556-A8BB-D8E0AAE0D712}" destId="{68BD075B-C694-4A97-8ECA-96FB005080EE}" srcOrd="0" destOrd="0" presId="urn:microsoft.com/office/officeart/2009/3/layout/HorizontalOrganizationChart"/>
    <dgm:cxn modelId="{57BE3BE0-81C7-4CC1-A6FD-D30C6ADD732F}" type="presParOf" srcId="{BE4C360D-0695-4556-A8BB-D8E0AAE0D712}" destId="{EBF8284A-7FED-45F6-9524-71BE7355EC57}" srcOrd="1" destOrd="0" presId="urn:microsoft.com/office/officeart/2009/3/layout/HorizontalOrganizationChart"/>
    <dgm:cxn modelId="{9C2196B1-001D-4D7A-8552-745710587E92}" type="presParOf" srcId="{1EC5381C-7822-454D-89B8-C196606F0848}" destId="{87C96744-C259-4D12-9095-009A82984DE0}" srcOrd="1" destOrd="0" presId="urn:microsoft.com/office/officeart/2009/3/layout/HorizontalOrganizationChart"/>
    <dgm:cxn modelId="{AED3FF5D-6560-4B77-BBFA-92F6276E4087}" type="presParOf" srcId="{87C96744-C259-4D12-9095-009A82984DE0}" destId="{D513CCCA-A47C-4137-B853-1AC1B040171A}" srcOrd="0" destOrd="0" presId="urn:microsoft.com/office/officeart/2009/3/layout/HorizontalOrganizationChart"/>
    <dgm:cxn modelId="{681D863D-4274-472D-B6B1-E0F1E7D5CDEF}" type="presParOf" srcId="{87C96744-C259-4D12-9095-009A82984DE0}" destId="{C4117772-9668-45F4-A79C-56F34488F87A}" srcOrd="1" destOrd="0" presId="urn:microsoft.com/office/officeart/2009/3/layout/HorizontalOrganizationChart"/>
    <dgm:cxn modelId="{F0579F3A-E092-4ECE-9A79-CCE322AB1452}" type="presParOf" srcId="{C4117772-9668-45F4-A79C-56F34488F87A}" destId="{8DFCA2D4-EC70-43E4-97D7-88067026677E}" srcOrd="0" destOrd="0" presId="urn:microsoft.com/office/officeart/2009/3/layout/HorizontalOrganizationChart"/>
    <dgm:cxn modelId="{872ED54F-00C8-4240-A7E2-9D098231813A}" type="presParOf" srcId="{8DFCA2D4-EC70-43E4-97D7-88067026677E}" destId="{286FD8F5-9FB7-4A8F-BCB6-CD474CCCD646}" srcOrd="0" destOrd="0" presId="urn:microsoft.com/office/officeart/2009/3/layout/HorizontalOrganizationChart"/>
    <dgm:cxn modelId="{676262F3-A9BD-4927-B6FF-084386F60D85}" type="presParOf" srcId="{8DFCA2D4-EC70-43E4-97D7-88067026677E}" destId="{EE1A2CE2-8C85-4DC2-B5C2-6FF3F3388EC6}" srcOrd="1" destOrd="0" presId="urn:microsoft.com/office/officeart/2009/3/layout/HorizontalOrganizationChart"/>
    <dgm:cxn modelId="{57DD32A7-CACB-43A2-A4ED-0068501EEEDE}" type="presParOf" srcId="{C4117772-9668-45F4-A79C-56F34488F87A}" destId="{64CC68AB-3381-45E3-9906-AD39CBFF3001}" srcOrd="1" destOrd="0" presId="urn:microsoft.com/office/officeart/2009/3/layout/HorizontalOrganizationChart"/>
    <dgm:cxn modelId="{962B00CB-85C6-40E9-BCF7-D7AB2E515EF8}" type="presParOf" srcId="{C4117772-9668-45F4-A79C-56F34488F87A}" destId="{C943301C-5654-414D-82B4-88F40075513C}" srcOrd="2" destOrd="0" presId="urn:microsoft.com/office/officeart/2009/3/layout/HorizontalOrganizationChart"/>
    <dgm:cxn modelId="{D62868DD-D089-4E7B-86FF-283525ABF6AD}" type="presParOf" srcId="{87C96744-C259-4D12-9095-009A82984DE0}" destId="{FDC25BEF-5C83-4CFB-83AF-E6EDFD491A94}" srcOrd="2" destOrd="0" presId="urn:microsoft.com/office/officeart/2009/3/layout/HorizontalOrganizationChart"/>
    <dgm:cxn modelId="{5FED72BA-A7AE-40CF-8B78-F809D415C80B}" type="presParOf" srcId="{87C96744-C259-4D12-9095-009A82984DE0}" destId="{488E5521-A948-40E4-A340-019861CC9099}" srcOrd="3" destOrd="0" presId="urn:microsoft.com/office/officeart/2009/3/layout/HorizontalOrganizationChart"/>
    <dgm:cxn modelId="{9747E93F-0EAD-49FA-AED2-0D738317A68C}" type="presParOf" srcId="{488E5521-A948-40E4-A340-019861CC9099}" destId="{11BC0E0E-96AB-4EE8-A552-4CE6A3643D05}" srcOrd="0" destOrd="0" presId="urn:microsoft.com/office/officeart/2009/3/layout/HorizontalOrganizationChart"/>
    <dgm:cxn modelId="{49BAA40A-E6E6-4308-9639-265B2CF6C8E9}" type="presParOf" srcId="{11BC0E0E-96AB-4EE8-A552-4CE6A3643D05}" destId="{457852C2-B9FC-4EB8-88BF-68AA537E0DFB}" srcOrd="0" destOrd="0" presId="urn:microsoft.com/office/officeart/2009/3/layout/HorizontalOrganizationChart"/>
    <dgm:cxn modelId="{58B8F594-D306-4ABE-BCF4-8AC3AF782B2E}" type="presParOf" srcId="{11BC0E0E-96AB-4EE8-A552-4CE6A3643D05}" destId="{97F97EFA-2719-4B7C-8A12-4D9EAC9877E3}" srcOrd="1" destOrd="0" presId="urn:microsoft.com/office/officeart/2009/3/layout/HorizontalOrganizationChart"/>
    <dgm:cxn modelId="{2A502F68-31FB-4F58-ADD5-187CC1B87B64}" type="presParOf" srcId="{488E5521-A948-40E4-A340-019861CC9099}" destId="{94BD17DB-F00F-4D96-B365-DE63979CCFE4}" srcOrd="1" destOrd="0" presId="urn:microsoft.com/office/officeart/2009/3/layout/HorizontalOrganizationChart"/>
    <dgm:cxn modelId="{37D4474C-450A-413D-8825-C29DC0702F69}" type="presParOf" srcId="{488E5521-A948-40E4-A340-019861CC9099}" destId="{67460F10-13FE-4A49-B241-6A9072ADEA35}" srcOrd="2" destOrd="0" presId="urn:microsoft.com/office/officeart/2009/3/layout/HorizontalOrganizationChart"/>
    <dgm:cxn modelId="{5009EB44-9931-4BB9-9941-E8B4F65824A5}" type="presParOf" srcId="{87C96744-C259-4D12-9095-009A82984DE0}" destId="{F67CE4BB-3745-47AB-B95A-714BC82C109F}" srcOrd="4" destOrd="0" presId="urn:microsoft.com/office/officeart/2009/3/layout/HorizontalOrganizationChart"/>
    <dgm:cxn modelId="{E6960DA8-5112-4439-B3F8-CE48F2433FA4}" type="presParOf" srcId="{87C96744-C259-4D12-9095-009A82984DE0}" destId="{4E8A01CF-C0C6-4E7D-912E-93E9B28CB6C6}" srcOrd="5" destOrd="0" presId="urn:microsoft.com/office/officeart/2009/3/layout/HorizontalOrganizationChart"/>
    <dgm:cxn modelId="{73D6CFFD-A97D-4199-8915-DBA29F4601BF}" type="presParOf" srcId="{4E8A01CF-C0C6-4E7D-912E-93E9B28CB6C6}" destId="{1C9C5E79-8F42-4F62-ACAC-2BF7672A9151}" srcOrd="0" destOrd="0" presId="urn:microsoft.com/office/officeart/2009/3/layout/HorizontalOrganizationChart"/>
    <dgm:cxn modelId="{4B8F857C-11F4-49E7-BADD-D5D4215C4A2C}" type="presParOf" srcId="{1C9C5E79-8F42-4F62-ACAC-2BF7672A9151}" destId="{F2D44061-3F54-46D3-B092-124DCE2E8121}" srcOrd="0" destOrd="0" presId="urn:microsoft.com/office/officeart/2009/3/layout/HorizontalOrganizationChart"/>
    <dgm:cxn modelId="{773A07A7-C777-4F96-BB8F-5246F48BBD96}" type="presParOf" srcId="{1C9C5E79-8F42-4F62-ACAC-2BF7672A9151}" destId="{4641AED7-81EE-4C53-85BC-B06D989B5298}" srcOrd="1" destOrd="0" presId="urn:microsoft.com/office/officeart/2009/3/layout/HorizontalOrganizationChart"/>
    <dgm:cxn modelId="{BF1081F7-B31F-4C78-9D07-C427AFF4E4A2}" type="presParOf" srcId="{4E8A01CF-C0C6-4E7D-912E-93E9B28CB6C6}" destId="{64F6B278-DE5B-4C60-8010-3BC18042AE4A}" srcOrd="1" destOrd="0" presId="urn:microsoft.com/office/officeart/2009/3/layout/HorizontalOrganizationChart"/>
    <dgm:cxn modelId="{610A9FBD-3006-4884-A057-CE3341EF51C5}" type="presParOf" srcId="{4E8A01CF-C0C6-4E7D-912E-93E9B28CB6C6}" destId="{93D1D8A8-58B4-4DD7-97B2-8F65889E7488}" srcOrd="2" destOrd="0" presId="urn:microsoft.com/office/officeart/2009/3/layout/HorizontalOrganizationChart"/>
    <dgm:cxn modelId="{D1C3C169-C6A5-4E3D-9ABB-A85DAF08EFFA}" type="presParOf" srcId="{1EC5381C-7822-454D-89B8-C196606F0848}" destId="{C164E9D4-E4CB-4563-AFBC-C1531A74DD65}" srcOrd="2" destOrd="0" presId="urn:microsoft.com/office/officeart/2009/3/layout/HorizontalOrganizationChart"/>
  </dgm:cxnLst>
  <dgm:bg>
    <a:noFill/>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D0D810A-461B-43AB-9074-9E97C0408D20}" type="doc">
      <dgm:prSet loTypeId="urn:microsoft.com/office/officeart/2009/3/layout/HorizontalOrganizationChart" loCatId="hierarchy" qsTypeId="urn:microsoft.com/office/officeart/2005/8/quickstyle/simple1" qsCatId="simple" csTypeId="urn:microsoft.com/office/officeart/2005/8/colors/accent2_2" csCatId="accent2" phldr="1"/>
      <dgm:spPr/>
      <dgm:t>
        <a:bodyPr/>
        <a:lstStyle/>
        <a:p>
          <a:endParaRPr lang="en-US"/>
        </a:p>
      </dgm:t>
    </dgm:pt>
    <dgm:pt modelId="{08EED27D-B691-455A-8D11-8D4400592106}">
      <dgm:prSet phldrT="[Text]" custT="1"/>
      <dgm:spPr>
        <a:solidFill>
          <a:schemeClr val="bg2"/>
        </a:solidFill>
        <a:ln>
          <a:noFill/>
        </a:ln>
      </dgm:spPr>
      <dgm:t>
        <a:bodyPr/>
        <a:lstStyle/>
        <a:p>
          <a:r>
            <a:rPr lang="en-US" sz="1000" b="1" dirty="0"/>
            <a:t>1115 waiver</a:t>
          </a:r>
        </a:p>
      </dgm:t>
    </dgm:pt>
    <dgm:pt modelId="{1BD718C0-8E31-4C02-8936-3DC9E7EB711A}" type="parTrans" cxnId="{A3225DBE-FBF4-4CA6-9910-43E74A7EDDCD}">
      <dgm:prSet/>
      <dgm:spPr/>
      <dgm:t>
        <a:bodyPr/>
        <a:lstStyle/>
        <a:p>
          <a:endParaRPr lang="en-US" sz="1000" b="1"/>
        </a:p>
      </dgm:t>
    </dgm:pt>
    <dgm:pt modelId="{7B5F34EC-77F8-4B43-BB2C-33BBF5B01984}" type="sibTrans" cxnId="{A3225DBE-FBF4-4CA6-9910-43E74A7EDDCD}">
      <dgm:prSet/>
      <dgm:spPr/>
      <dgm:t>
        <a:bodyPr/>
        <a:lstStyle/>
        <a:p>
          <a:endParaRPr lang="en-US" sz="1000" b="1"/>
        </a:p>
      </dgm:t>
    </dgm:pt>
    <dgm:pt modelId="{A0160691-C5F9-44B8-9B17-16C16C30252D}">
      <dgm:prSet phldrT="[Text]" custT="1"/>
      <dgm:spPr>
        <a:solidFill>
          <a:schemeClr val="bg2"/>
        </a:solidFill>
        <a:ln>
          <a:noFill/>
        </a:ln>
      </dgm:spPr>
      <dgm:t>
        <a:bodyPr/>
        <a:lstStyle/>
        <a:p>
          <a:r>
            <a:rPr lang="en-US" sz="1000" b="1" dirty="0"/>
            <a:t>1332 waiver</a:t>
          </a:r>
        </a:p>
      </dgm:t>
    </dgm:pt>
    <dgm:pt modelId="{7C1C211D-DF08-4FA2-A593-3F78C8D74D1E}" type="parTrans" cxnId="{D66B2423-EA40-4AD3-8D39-8A788F41731C}">
      <dgm:prSet/>
      <dgm:spPr/>
      <dgm:t>
        <a:bodyPr/>
        <a:lstStyle/>
        <a:p>
          <a:endParaRPr lang="en-US" sz="1000" b="1"/>
        </a:p>
      </dgm:t>
    </dgm:pt>
    <dgm:pt modelId="{7CA754DD-BCA3-484D-948A-4898820E12A5}" type="sibTrans" cxnId="{D66B2423-EA40-4AD3-8D39-8A788F41731C}">
      <dgm:prSet/>
      <dgm:spPr/>
      <dgm:t>
        <a:bodyPr/>
        <a:lstStyle/>
        <a:p>
          <a:endParaRPr lang="en-US" sz="1000" b="1"/>
        </a:p>
      </dgm:t>
    </dgm:pt>
    <dgm:pt modelId="{25689892-4E7D-40AA-A673-4C1F0CF0FA5A}">
      <dgm:prSet phldrT="[Text]" custT="1"/>
      <dgm:spPr>
        <a:noFill/>
        <a:ln>
          <a:noFill/>
        </a:ln>
      </dgm:spPr>
      <dgm:t>
        <a:bodyPr/>
        <a:lstStyle/>
        <a:p>
          <a:r>
            <a:rPr lang="en-US" sz="1000" b="1" dirty="0">
              <a:solidFill>
                <a:schemeClr val="tx1"/>
              </a:solidFill>
            </a:rPr>
            <a:t>Delay / denied</a:t>
          </a:r>
        </a:p>
      </dgm:t>
    </dgm:pt>
    <dgm:pt modelId="{F777E9C7-1812-46A8-9B44-36F638B989E3}" type="parTrans" cxnId="{F0341BD8-469F-4A6C-83F6-86DEA6671799}">
      <dgm:prSet/>
      <dgm:spPr>
        <a:ln>
          <a:solidFill>
            <a:srgbClr val="FF0000"/>
          </a:solidFill>
          <a:prstDash val="lgDash"/>
          <a:headEnd type="none" w="med" len="med"/>
          <a:tailEnd type="triangle" w="med" len="med"/>
        </a:ln>
      </dgm:spPr>
      <dgm:t>
        <a:bodyPr/>
        <a:lstStyle/>
        <a:p>
          <a:endParaRPr lang="en-US" sz="1000" b="1"/>
        </a:p>
      </dgm:t>
    </dgm:pt>
    <dgm:pt modelId="{32D3F911-C848-4633-AE9B-C684A3E2D4A0}" type="sibTrans" cxnId="{F0341BD8-469F-4A6C-83F6-86DEA6671799}">
      <dgm:prSet/>
      <dgm:spPr/>
      <dgm:t>
        <a:bodyPr/>
        <a:lstStyle/>
        <a:p>
          <a:endParaRPr lang="en-US" sz="1000" b="1"/>
        </a:p>
      </dgm:t>
    </dgm:pt>
    <dgm:pt modelId="{181337CE-57D4-4E7A-A05B-60A37E2377AA}">
      <dgm:prSet phldrT="[Text]" custT="1"/>
      <dgm:spPr>
        <a:noFill/>
        <a:ln>
          <a:noFill/>
        </a:ln>
      </dgm:spPr>
      <dgm:t>
        <a:bodyPr/>
        <a:lstStyle/>
        <a:p>
          <a:r>
            <a:rPr lang="en-US" sz="1000" b="1" dirty="0">
              <a:solidFill>
                <a:schemeClr val="tx1"/>
              </a:solidFill>
            </a:rPr>
            <a:t>Denied (</a:t>
          </a:r>
          <a:r>
            <a:rPr lang="en-US" sz="1000" b="1" u="sng" dirty="0">
              <a:solidFill>
                <a:schemeClr val="tx1"/>
              </a:solidFill>
            </a:rPr>
            <a:t>&lt;</a:t>
          </a:r>
          <a:r>
            <a:rPr lang="en-US" sz="1000" b="1" u="none" dirty="0">
              <a:solidFill>
                <a:schemeClr val="tx1"/>
              </a:solidFill>
            </a:rPr>
            <a:t>18</a:t>
          </a:r>
          <a:r>
            <a:rPr lang="en-US" sz="1000" b="1" dirty="0">
              <a:solidFill>
                <a:schemeClr val="tx1"/>
              </a:solidFill>
            </a:rPr>
            <a:t>0 days)</a:t>
          </a:r>
        </a:p>
      </dgm:t>
    </dgm:pt>
    <dgm:pt modelId="{3935ABD3-BCEB-4366-8068-AF4AC2EC6F86}" type="parTrans" cxnId="{34485087-B5E1-4C7C-A12D-6E4193B5890D}">
      <dgm:prSet/>
      <dgm:spPr>
        <a:ln>
          <a:solidFill>
            <a:schemeClr val="bg2"/>
          </a:solidFill>
          <a:headEnd type="none" w="med" len="med"/>
          <a:tailEnd type="triangle" w="med" len="med"/>
        </a:ln>
      </dgm:spPr>
      <dgm:t>
        <a:bodyPr/>
        <a:lstStyle/>
        <a:p>
          <a:endParaRPr lang="en-US" sz="1000" b="1"/>
        </a:p>
      </dgm:t>
    </dgm:pt>
    <dgm:pt modelId="{DD97806B-124E-472F-8B3E-E5D1562EC24B}" type="sibTrans" cxnId="{34485087-B5E1-4C7C-A12D-6E4193B5890D}">
      <dgm:prSet/>
      <dgm:spPr/>
      <dgm:t>
        <a:bodyPr/>
        <a:lstStyle/>
        <a:p>
          <a:endParaRPr lang="en-US" sz="1000" b="1"/>
        </a:p>
      </dgm:t>
    </dgm:pt>
    <dgm:pt modelId="{85023C2C-452D-4AC9-A6FA-0F9D7138C59C}">
      <dgm:prSet phldrT="[Text]" custT="1"/>
      <dgm:spPr>
        <a:solidFill>
          <a:schemeClr val="bg2"/>
        </a:solidFill>
        <a:ln>
          <a:noFill/>
        </a:ln>
      </dgm:spPr>
      <dgm:t>
        <a:bodyPr/>
        <a:lstStyle/>
        <a:p>
          <a:r>
            <a:rPr lang="en-US" sz="1000" b="1" dirty="0"/>
            <a:t>1332 waiver</a:t>
          </a:r>
        </a:p>
      </dgm:t>
    </dgm:pt>
    <dgm:pt modelId="{4DC8FC01-4200-4F98-B421-C3BD31407BFE}" type="sibTrans" cxnId="{08C03AC3-FB42-491A-8AC3-DAA93AE19A3F}">
      <dgm:prSet/>
      <dgm:spPr/>
      <dgm:t>
        <a:bodyPr/>
        <a:lstStyle/>
        <a:p>
          <a:endParaRPr lang="en-US" sz="1000" b="1"/>
        </a:p>
      </dgm:t>
    </dgm:pt>
    <dgm:pt modelId="{33B9A337-283C-49FE-8E6D-A95BFD1E8030}" type="parTrans" cxnId="{08C03AC3-FB42-491A-8AC3-DAA93AE19A3F}">
      <dgm:prSet/>
      <dgm:spPr/>
      <dgm:t>
        <a:bodyPr/>
        <a:lstStyle/>
        <a:p>
          <a:endParaRPr lang="en-US" sz="1000" b="1"/>
        </a:p>
      </dgm:t>
    </dgm:pt>
    <dgm:pt modelId="{374E3B40-BBBE-480A-AFB4-88D490633E79}">
      <dgm:prSet phldrT="[Text]" custT="1"/>
      <dgm:spPr>
        <a:solidFill>
          <a:schemeClr val="bg2"/>
        </a:solidFill>
        <a:ln>
          <a:noFill/>
        </a:ln>
      </dgm:spPr>
      <dgm:t>
        <a:bodyPr/>
        <a:lstStyle/>
        <a:p>
          <a:r>
            <a:rPr lang="en-US" sz="1000" b="1" dirty="0"/>
            <a:t>1115 waiver</a:t>
          </a:r>
        </a:p>
      </dgm:t>
    </dgm:pt>
    <dgm:pt modelId="{3C2134FB-03F5-408F-A3E8-366E7D03A159}" type="sibTrans" cxnId="{D35A7518-0072-4221-9867-FBFE00A0D2B6}">
      <dgm:prSet/>
      <dgm:spPr/>
      <dgm:t>
        <a:bodyPr/>
        <a:lstStyle/>
        <a:p>
          <a:endParaRPr lang="en-US" sz="1000" b="1"/>
        </a:p>
      </dgm:t>
    </dgm:pt>
    <dgm:pt modelId="{7CD24F9D-E1BB-408F-AAA9-2DE54AABDB4B}" type="parTrans" cxnId="{D35A7518-0072-4221-9867-FBFE00A0D2B6}">
      <dgm:prSet/>
      <dgm:spPr/>
      <dgm:t>
        <a:bodyPr/>
        <a:lstStyle/>
        <a:p>
          <a:endParaRPr lang="en-US" sz="1000" b="1"/>
        </a:p>
      </dgm:t>
    </dgm:pt>
    <dgm:pt modelId="{EF3D876D-3EE3-4D07-AAFA-45A65E67153D}">
      <dgm:prSet phldrT="[Text]" custT="1"/>
      <dgm:spPr>
        <a:noFill/>
        <a:ln>
          <a:noFill/>
        </a:ln>
      </dgm:spPr>
      <dgm:t>
        <a:bodyPr/>
        <a:lstStyle/>
        <a:p>
          <a:r>
            <a:rPr lang="en-US" sz="1000" b="1" dirty="0">
              <a:solidFill>
                <a:schemeClr val="tx1"/>
              </a:solidFill>
            </a:rPr>
            <a:t>Denied</a:t>
          </a:r>
        </a:p>
      </dgm:t>
    </dgm:pt>
    <dgm:pt modelId="{6E609385-C993-4BC2-9C17-F960FE135F9E}" type="parTrans" cxnId="{37262148-BB0F-4AAE-93EB-D71C43F7ABA1}">
      <dgm:prSet/>
      <dgm:spPr>
        <a:ln>
          <a:solidFill>
            <a:srgbClr val="FF0000"/>
          </a:solidFill>
          <a:prstDash val="lgDash"/>
          <a:headEnd type="none" w="med" len="med"/>
          <a:tailEnd type="triangle" w="med" len="med"/>
        </a:ln>
      </dgm:spPr>
      <dgm:t>
        <a:bodyPr/>
        <a:lstStyle/>
        <a:p>
          <a:endParaRPr lang="en-US" sz="1000" b="1">
            <a:ln>
              <a:solidFill>
                <a:srgbClr val="FF0000"/>
              </a:solidFill>
            </a:ln>
          </a:endParaRPr>
        </a:p>
      </dgm:t>
    </dgm:pt>
    <dgm:pt modelId="{4FECF614-695B-4D39-A080-4F84C9ACE92B}" type="sibTrans" cxnId="{37262148-BB0F-4AAE-93EB-D71C43F7ABA1}">
      <dgm:prSet/>
      <dgm:spPr/>
      <dgm:t>
        <a:bodyPr/>
        <a:lstStyle/>
        <a:p>
          <a:endParaRPr lang="en-US" sz="1000" b="1"/>
        </a:p>
      </dgm:t>
    </dgm:pt>
    <dgm:pt modelId="{5CC210C8-5E6E-48F0-8FD0-6A866839FB6B}">
      <dgm:prSet phldrT="[Text]" custT="1"/>
      <dgm:spPr>
        <a:solidFill>
          <a:schemeClr val="bg1">
            <a:lumMod val="50000"/>
          </a:schemeClr>
        </a:solidFill>
        <a:ln>
          <a:noFill/>
        </a:ln>
      </dgm:spPr>
      <dgm:t>
        <a:bodyPr/>
        <a:lstStyle/>
        <a:p>
          <a:r>
            <a:rPr lang="en-US" sz="1000" b="1" dirty="0">
              <a:solidFill>
                <a:schemeClr val="bg1"/>
              </a:solidFill>
            </a:rPr>
            <a:t>State moves to Step 2</a:t>
          </a:r>
        </a:p>
      </dgm:t>
    </dgm:pt>
    <dgm:pt modelId="{A20406A2-2D7C-4A2D-8277-F2D7CFFC3989}" type="parTrans" cxnId="{6D197EFA-E970-4CA7-BFDB-12014368DE9A}">
      <dgm:prSet/>
      <dgm:spPr>
        <a:ln>
          <a:noFill/>
        </a:ln>
      </dgm:spPr>
      <dgm:t>
        <a:bodyPr/>
        <a:lstStyle/>
        <a:p>
          <a:endParaRPr lang="en-US" sz="1000" b="1"/>
        </a:p>
      </dgm:t>
    </dgm:pt>
    <dgm:pt modelId="{C531265A-64F9-4D92-A7AB-716575731EBF}" type="sibTrans" cxnId="{6D197EFA-E970-4CA7-BFDB-12014368DE9A}">
      <dgm:prSet/>
      <dgm:spPr/>
      <dgm:t>
        <a:bodyPr/>
        <a:lstStyle/>
        <a:p>
          <a:endParaRPr lang="en-US" sz="1000" b="1"/>
        </a:p>
      </dgm:t>
    </dgm:pt>
    <dgm:pt modelId="{4E5FFA0C-6510-4201-A7B1-ABD5AEF2D97A}">
      <dgm:prSet phldrT="[Text]" custT="1"/>
      <dgm:spPr>
        <a:noFill/>
        <a:ln>
          <a:noFill/>
        </a:ln>
      </dgm:spPr>
      <dgm:t>
        <a:bodyPr/>
        <a:lstStyle/>
        <a:p>
          <a:r>
            <a:rPr lang="en-US" sz="1000" b="1" dirty="0">
              <a:solidFill>
                <a:schemeClr val="tx1"/>
              </a:solidFill>
            </a:rPr>
            <a:t>Approved (</a:t>
          </a:r>
          <a:r>
            <a:rPr lang="en-US" sz="1000" b="1" u="sng" dirty="0">
              <a:solidFill>
                <a:schemeClr val="tx1"/>
              </a:solidFill>
            </a:rPr>
            <a:t>&lt;</a:t>
          </a:r>
          <a:r>
            <a:rPr lang="en-US" sz="1000" b="1" u="none" dirty="0">
              <a:solidFill>
                <a:schemeClr val="tx1"/>
              </a:solidFill>
            </a:rPr>
            <a:t>1</a:t>
          </a:r>
          <a:r>
            <a:rPr lang="en-US" sz="1000" b="1" dirty="0">
              <a:solidFill>
                <a:schemeClr val="tx1"/>
              </a:solidFill>
            </a:rPr>
            <a:t>80 days)</a:t>
          </a:r>
        </a:p>
      </dgm:t>
    </dgm:pt>
    <dgm:pt modelId="{BC42BC40-0016-4436-879E-4DDC17E681D8}" type="parTrans" cxnId="{34310F64-4E48-4308-BE51-BFDDCE09909A}">
      <dgm:prSet/>
      <dgm:spPr>
        <a:ln>
          <a:solidFill>
            <a:schemeClr val="bg2"/>
          </a:solidFill>
          <a:headEnd type="none" w="med" len="med"/>
          <a:tailEnd type="triangle" w="med" len="med"/>
        </a:ln>
      </dgm:spPr>
      <dgm:t>
        <a:bodyPr/>
        <a:lstStyle/>
        <a:p>
          <a:endParaRPr lang="en-US" sz="1000" b="1"/>
        </a:p>
      </dgm:t>
    </dgm:pt>
    <dgm:pt modelId="{012D8BD1-3B16-42B8-AD19-91B1BF069CC4}" type="sibTrans" cxnId="{34310F64-4E48-4308-BE51-BFDDCE09909A}">
      <dgm:prSet/>
      <dgm:spPr/>
      <dgm:t>
        <a:bodyPr/>
        <a:lstStyle/>
        <a:p>
          <a:endParaRPr lang="en-US" sz="1000" b="1"/>
        </a:p>
      </dgm:t>
    </dgm:pt>
    <dgm:pt modelId="{6C071D51-77B8-4EFD-9FB6-FCEF2ADC1246}">
      <dgm:prSet phldrT="[Text]" custT="1"/>
      <dgm:spPr>
        <a:solidFill>
          <a:schemeClr val="bg2"/>
        </a:solidFill>
        <a:ln>
          <a:noFill/>
        </a:ln>
      </dgm:spPr>
      <dgm:t>
        <a:bodyPr/>
        <a:lstStyle/>
        <a:p>
          <a:r>
            <a:rPr lang="en-US" sz="1000" b="1" dirty="0"/>
            <a:t>1115 waiver</a:t>
          </a:r>
        </a:p>
      </dgm:t>
    </dgm:pt>
    <dgm:pt modelId="{67CD13A7-670A-494B-802B-0388262AD6E5}" type="parTrans" cxnId="{06AA19BF-279A-4678-8A18-94CF30CBAC6D}">
      <dgm:prSet/>
      <dgm:spPr/>
      <dgm:t>
        <a:bodyPr/>
        <a:lstStyle/>
        <a:p>
          <a:endParaRPr lang="en-US" sz="1000" b="1"/>
        </a:p>
      </dgm:t>
    </dgm:pt>
    <dgm:pt modelId="{8C6DB17C-256F-4FB2-AE9B-B54A9AB67051}" type="sibTrans" cxnId="{06AA19BF-279A-4678-8A18-94CF30CBAC6D}">
      <dgm:prSet/>
      <dgm:spPr/>
      <dgm:t>
        <a:bodyPr/>
        <a:lstStyle/>
        <a:p>
          <a:endParaRPr lang="en-US" sz="1000" b="1"/>
        </a:p>
      </dgm:t>
    </dgm:pt>
    <dgm:pt modelId="{FD1DBDAA-A001-4591-8DE7-1CF832D5998F}">
      <dgm:prSet phldrT="[Text]" custT="1"/>
      <dgm:spPr>
        <a:solidFill>
          <a:schemeClr val="bg2"/>
        </a:solidFill>
        <a:ln>
          <a:noFill/>
        </a:ln>
      </dgm:spPr>
      <dgm:t>
        <a:bodyPr/>
        <a:lstStyle/>
        <a:p>
          <a:r>
            <a:rPr lang="en-US" sz="1000" b="1" dirty="0"/>
            <a:t>1332 waiver</a:t>
          </a:r>
        </a:p>
      </dgm:t>
    </dgm:pt>
    <dgm:pt modelId="{455A81A8-DB9B-495F-A246-9BBAD335F952}" type="parTrans" cxnId="{D3A2E22A-915E-439D-9DBE-B4D6BF15E285}">
      <dgm:prSet/>
      <dgm:spPr/>
      <dgm:t>
        <a:bodyPr/>
        <a:lstStyle/>
        <a:p>
          <a:endParaRPr lang="en-US" sz="1000" b="1"/>
        </a:p>
      </dgm:t>
    </dgm:pt>
    <dgm:pt modelId="{B88F5D7E-1B87-474F-BD16-1E52448760E8}" type="sibTrans" cxnId="{D3A2E22A-915E-439D-9DBE-B4D6BF15E285}">
      <dgm:prSet/>
      <dgm:spPr/>
      <dgm:t>
        <a:bodyPr/>
        <a:lstStyle/>
        <a:p>
          <a:endParaRPr lang="en-US" sz="1000" b="1"/>
        </a:p>
      </dgm:t>
    </dgm:pt>
    <dgm:pt modelId="{D54A7B4A-DF66-40C0-906F-D4D32F04FB90}">
      <dgm:prSet phldrT="[Text]" custT="1"/>
      <dgm:spPr>
        <a:noFill/>
        <a:ln>
          <a:noFill/>
        </a:ln>
      </dgm:spPr>
      <dgm:t>
        <a:bodyPr/>
        <a:lstStyle/>
        <a:p>
          <a:r>
            <a:rPr lang="en-US" sz="1000" b="1" dirty="0">
              <a:solidFill>
                <a:schemeClr val="tx1"/>
              </a:solidFill>
            </a:rPr>
            <a:t>Approved (</a:t>
          </a:r>
          <a:r>
            <a:rPr lang="en-US" sz="1000" b="1" u="sng" dirty="0">
              <a:solidFill>
                <a:schemeClr val="tx1"/>
              </a:solidFill>
            </a:rPr>
            <a:t>&lt;</a:t>
          </a:r>
          <a:r>
            <a:rPr lang="en-US" sz="1000" b="1" u="none" dirty="0">
              <a:solidFill>
                <a:schemeClr val="tx1"/>
              </a:solidFill>
            </a:rPr>
            <a:t>1</a:t>
          </a:r>
          <a:r>
            <a:rPr lang="en-US" sz="1000" b="1" dirty="0">
              <a:solidFill>
                <a:schemeClr val="tx1"/>
              </a:solidFill>
            </a:rPr>
            <a:t>80 days)</a:t>
          </a:r>
        </a:p>
      </dgm:t>
    </dgm:pt>
    <dgm:pt modelId="{D7AD2902-6F37-4EB6-B6EC-C1349D73C805}" type="parTrans" cxnId="{8E696739-4710-409E-9F6A-6415847D2AA7}">
      <dgm:prSet/>
      <dgm:spPr>
        <a:ln>
          <a:solidFill>
            <a:schemeClr val="bg2"/>
          </a:solidFill>
          <a:headEnd type="none" w="med" len="med"/>
          <a:tailEnd type="triangle" w="med" len="med"/>
        </a:ln>
      </dgm:spPr>
      <dgm:t>
        <a:bodyPr/>
        <a:lstStyle/>
        <a:p>
          <a:endParaRPr lang="en-US" sz="1000" b="1"/>
        </a:p>
      </dgm:t>
    </dgm:pt>
    <dgm:pt modelId="{7D804DBF-C5C2-48B4-A128-81D9E02AE9AB}" type="sibTrans" cxnId="{8E696739-4710-409E-9F6A-6415847D2AA7}">
      <dgm:prSet/>
      <dgm:spPr/>
      <dgm:t>
        <a:bodyPr/>
        <a:lstStyle/>
        <a:p>
          <a:endParaRPr lang="en-US" sz="1000" b="1"/>
        </a:p>
      </dgm:t>
    </dgm:pt>
    <dgm:pt modelId="{0602ED7E-9C90-492C-B953-EE44638FBB95}">
      <dgm:prSet phldrT="[Text]" custT="1"/>
      <dgm:spPr>
        <a:noFill/>
        <a:ln>
          <a:noFill/>
        </a:ln>
      </dgm:spPr>
      <dgm:t>
        <a:bodyPr/>
        <a:lstStyle/>
        <a:p>
          <a:r>
            <a:rPr lang="en-US" sz="1000" b="1" dirty="0">
              <a:solidFill>
                <a:schemeClr val="tx1"/>
              </a:solidFill>
            </a:rPr>
            <a:t>Approved</a:t>
          </a:r>
        </a:p>
      </dgm:t>
    </dgm:pt>
    <dgm:pt modelId="{E5F8A749-E885-42C9-B9EE-5E6294529BB1}" type="parTrans" cxnId="{A464C615-08A4-4308-9D31-176CD272EFC4}">
      <dgm:prSet/>
      <dgm:spPr>
        <a:ln>
          <a:solidFill>
            <a:srgbClr val="FF0000"/>
          </a:solidFill>
          <a:prstDash val="lgDash"/>
          <a:headEnd type="none" w="med" len="med"/>
          <a:tailEnd type="triangle" w="med" len="med"/>
        </a:ln>
      </dgm:spPr>
      <dgm:t>
        <a:bodyPr/>
        <a:lstStyle/>
        <a:p>
          <a:endParaRPr lang="en-US" sz="1000" b="1"/>
        </a:p>
      </dgm:t>
    </dgm:pt>
    <dgm:pt modelId="{8CBAE86F-2481-427D-A7BB-5410C2C474AF}" type="sibTrans" cxnId="{A464C615-08A4-4308-9D31-176CD272EFC4}">
      <dgm:prSet/>
      <dgm:spPr/>
      <dgm:t>
        <a:bodyPr/>
        <a:lstStyle/>
        <a:p>
          <a:endParaRPr lang="en-US" sz="1000" b="1"/>
        </a:p>
      </dgm:t>
    </dgm:pt>
    <dgm:pt modelId="{AD6FBD3B-8A7D-4317-BB75-D2A9592FB8BE}">
      <dgm:prSet phldrT="[Text]" custT="1"/>
      <dgm:spPr>
        <a:solidFill>
          <a:srgbClr val="00B050"/>
        </a:solidFill>
        <a:ln>
          <a:noFill/>
        </a:ln>
      </dgm:spPr>
      <dgm:t>
        <a:bodyPr/>
        <a:lstStyle/>
        <a:p>
          <a:r>
            <a:rPr lang="en-US" sz="1000" b="1" dirty="0"/>
            <a:t>Expansion effective once waivers approved, if on or after 01/01/2021</a:t>
          </a:r>
        </a:p>
      </dgm:t>
    </dgm:pt>
    <dgm:pt modelId="{1DF9E748-BE9E-4485-997D-1484062506CD}" type="parTrans" cxnId="{3F98450E-CE74-402F-B147-B71B24C6FB18}">
      <dgm:prSet/>
      <dgm:spPr>
        <a:ln>
          <a:noFill/>
        </a:ln>
      </dgm:spPr>
      <dgm:t>
        <a:bodyPr/>
        <a:lstStyle/>
        <a:p>
          <a:endParaRPr lang="en-US" sz="1000" b="1"/>
        </a:p>
      </dgm:t>
    </dgm:pt>
    <dgm:pt modelId="{791C9EC4-B42B-4F06-BD72-5A1377A347A4}" type="sibTrans" cxnId="{3F98450E-CE74-402F-B147-B71B24C6FB18}">
      <dgm:prSet/>
      <dgm:spPr/>
      <dgm:t>
        <a:bodyPr/>
        <a:lstStyle/>
        <a:p>
          <a:endParaRPr lang="en-US" sz="1000" b="1"/>
        </a:p>
      </dgm:t>
    </dgm:pt>
    <dgm:pt modelId="{3AFB4E32-1F59-4D07-BCF8-91DA61B65CFA}">
      <dgm:prSet phldrT="[Text]" custT="1"/>
      <dgm:spPr>
        <a:solidFill>
          <a:schemeClr val="bg2"/>
        </a:solidFill>
        <a:ln>
          <a:noFill/>
        </a:ln>
      </dgm:spPr>
      <dgm:t>
        <a:bodyPr/>
        <a:lstStyle/>
        <a:p>
          <a:r>
            <a:rPr lang="en-US" sz="1000" b="1" dirty="0"/>
            <a:t>1115 waiver</a:t>
          </a:r>
        </a:p>
      </dgm:t>
    </dgm:pt>
    <dgm:pt modelId="{021CF996-4CCE-4B2D-8851-2772864BBF67}" type="parTrans" cxnId="{07BA3194-9F98-4565-9B7D-45A9D4AA9D58}">
      <dgm:prSet/>
      <dgm:spPr/>
      <dgm:t>
        <a:bodyPr/>
        <a:lstStyle/>
        <a:p>
          <a:endParaRPr lang="en-US" sz="1000" b="1"/>
        </a:p>
      </dgm:t>
    </dgm:pt>
    <dgm:pt modelId="{6CBD2151-A96C-4245-80F1-24AEAD8E22AC}" type="sibTrans" cxnId="{07BA3194-9F98-4565-9B7D-45A9D4AA9D58}">
      <dgm:prSet/>
      <dgm:spPr/>
      <dgm:t>
        <a:bodyPr/>
        <a:lstStyle/>
        <a:p>
          <a:endParaRPr lang="en-US" sz="1000" b="1"/>
        </a:p>
      </dgm:t>
    </dgm:pt>
    <dgm:pt modelId="{29E6D98C-7CD3-4CEA-9EFA-45A1CA2D803A}">
      <dgm:prSet phldrT="[Text]" custT="1"/>
      <dgm:spPr>
        <a:noFill/>
        <a:ln>
          <a:noFill/>
        </a:ln>
      </dgm:spPr>
      <dgm:t>
        <a:bodyPr/>
        <a:lstStyle/>
        <a:p>
          <a:r>
            <a:rPr lang="en-US" sz="1000" b="1" dirty="0">
              <a:solidFill>
                <a:schemeClr val="tx1"/>
              </a:solidFill>
            </a:rPr>
            <a:t>Approved</a:t>
          </a:r>
        </a:p>
      </dgm:t>
    </dgm:pt>
    <dgm:pt modelId="{DEC05715-FEDF-4412-9AD5-B59AB6420D07}" type="parTrans" cxnId="{A1D3D487-6284-42A5-BD9A-173CE5CCC61B}">
      <dgm:prSet/>
      <dgm:spPr>
        <a:ln>
          <a:solidFill>
            <a:srgbClr val="FF0000"/>
          </a:solidFill>
          <a:prstDash val="lgDash"/>
          <a:headEnd type="none" w="med" len="med"/>
          <a:tailEnd type="triangle" w="med" len="med"/>
        </a:ln>
      </dgm:spPr>
      <dgm:t>
        <a:bodyPr/>
        <a:lstStyle/>
        <a:p>
          <a:endParaRPr lang="en-US" sz="1000" b="1"/>
        </a:p>
      </dgm:t>
    </dgm:pt>
    <dgm:pt modelId="{AFD93C40-7DEA-4C8D-96E6-A850EDB6579A}" type="sibTrans" cxnId="{A1D3D487-6284-42A5-BD9A-173CE5CCC61B}">
      <dgm:prSet/>
      <dgm:spPr/>
      <dgm:t>
        <a:bodyPr/>
        <a:lstStyle/>
        <a:p>
          <a:endParaRPr lang="en-US" sz="1000" b="1"/>
        </a:p>
      </dgm:t>
    </dgm:pt>
    <dgm:pt modelId="{F64980BF-4994-4AE5-B82B-FE016BD703AC}">
      <dgm:prSet phldrT="[Text]" custT="1"/>
      <dgm:spPr>
        <a:solidFill>
          <a:schemeClr val="bg2"/>
        </a:solidFill>
        <a:ln>
          <a:noFill/>
        </a:ln>
      </dgm:spPr>
      <dgm:t>
        <a:bodyPr/>
        <a:lstStyle/>
        <a:p>
          <a:r>
            <a:rPr lang="en-US" sz="1000" b="1" dirty="0"/>
            <a:t>1332 waiver</a:t>
          </a:r>
        </a:p>
      </dgm:t>
    </dgm:pt>
    <dgm:pt modelId="{2EEE1247-63DA-44B4-92C6-8C1C591F1E70}" type="parTrans" cxnId="{E0B9178B-13FD-411D-A3C1-B338F7989461}">
      <dgm:prSet/>
      <dgm:spPr/>
      <dgm:t>
        <a:bodyPr/>
        <a:lstStyle/>
        <a:p>
          <a:endParaRPr lang="en-US" sz="1000" b="1"/>
        </a:p>
      </dgm:t>
    </dgm:pt>
    <dgm:pt modelId="{1E425069-9ECA-439D-B69A-AA27C7DAC8D6}" type="sibTrans" cxnId="{E0B9178B-13FD-411D-A3C1-B338F7989461}">
      <dgm:prSet/>
      <dgm:spPr/>
      <dgm:t>
        <a:bodyPr/>
        <a:lstStyle/>
        <a:p>
          <a:endParaRPr lang="en-US" sz="1000" b="1"/>
        </a:p>
      </dgm:t>
    </dgm:pt>
    <dgm:pt modelId="{E42E812B-A53E-410B-ACAF-65B89C809D9A}">
      <dgm:prSet phldrT="[Text]" custT="1"/>
      <dgm:spPr>
        <a:noFill/>
        <a:ln>
          <a:noFill/>
        </a:ln>
      </dgm:spPr>
      <dgm:t>
        <a:bodyPr/>
        <a:lstStyle/>
        <a:p>
          <a:r>
            <a:rPr lang="en-US" sz="1000" b="1" dirty="0">
              <a:solidFill>
                <a:schemeClr val="tx1"/>
              </a:solidFill>
            </a:rPr>
            <a:t>Denied (</a:t>
          </a:r>
          <a:r>
            <a:rPr lang="en-US" sz="1000" b="1" u="sng" dirty="0">
              <a:solidFill>
                <a:schemeClr val="tx1"/>
              </a:solidFill>
            </a:rPr>
            <a:t>&lt;</a:t>
          </a:r>
          <a:r>
            <a:rPr lang="en-US" sz="1000" b="1" u="none" dirty="0">
              <a:solidFill>
                <a:schemeClr val="tx1"/>
              </a:solidFill>
            </a:rPr>
            <a:t>1</a:t>
          </a:r>
          <a:r>
            <a:rPr lang="en-US" sz="1000" b="1" dirty="0">
              <a:solidFill>
                <a:schemeClr val="tx1"/>
              </a:solidFill>
            </a:rPr>
            <a:t>80 days)</a:t>
          </a:r>
        </a:p>
      </dgm:t>
    </dgm:pt>
    <dgm:pt modelId="{A04CD877-1FBB-46AC-B119-4A1F5F1189AD}" type="parTrans" cxnId="{F04B591A-EE28-41BE-972E-8FCBA05EBF3E}">
      <dgm:prSet/>
      <dgm:spPr>
        <a:ln>
          <a:solidFill>
            <a:schemeClr val="bg2"/>
          </a:solidFill>
          <a:headEnd type="none" w="med" len="med"/>
          <a:tailEnd type="triangle" w="med" len="med"/>
        </a:ln>
      </dgm:spPr>
      <dgm:t>
        <a:bodyPr/>
        <a:lstStyle/>
        <a:p>
          <a:endParaRPr lang="en-US" sz="1000" b="1"/>
        </a:p>
      </dgm:t>
    </dgm:pt>
    <dgm:pt modelId="{AC2340BA-0A3A-4980-97F2-6249438EB5BA}" type="sibTrans" cxnId="{F04B591A-EE28-41BE-972E-8FCBA05EBF3E}">
      <dgm:prSet/>
      <dgm:spPr/>
      <dgm:t>
        <a:bodyPr/>
        <a:lstStyle/>
        <a:p>
          <a:endParaRPr lang="en-US" sz="1000" b="1"/>
        </a:p>
      </dgm:t>
    </dgm:pt>
    <dgm:pt modelId="{659AE9CF-DD53-43E5-9868-97D2ED8D2738}">
      <dgm:prSet phldrT="[Text]" custT="1"/>
      <dgm:spPr>
        <a:solidFill>
          <a:schemeClr val="bg1">
            <a:lumMod val="50000"/>
          </a:schemeClr>
        </a:solidFill>
        <a:ln>
          <a:noFill/>
        </a:ln>
      </dgm:spPr>
      <dgm:t>
        <a:bodyPr/>
        <a:lstStyle/>
        <a:p>
          <a:r>
            <a:rPr lang="en-US" sz="1000" b="1" dirty="0">
              <a:solidFill>
                <a:schemeClr val="bg1"/>
              </a:solidFill>
            </a:rPr>
            <a:t>State moves to Step 2</a:t>
          </a:r>
        </a:p>
      </dgm:t>
    </dgm:pt>
    <dgm:pt modelId="{01D5BAF7-61A6-42DD-9DAF-498F6404018D}" type="parTrans" cxnId="{52446098-2E7E-4BF5-A179-97DD94581684}">
      <dgm:prSet/>
      <dgm:spPr>
        <a:ln>
          <a:noFill/>
        </a:ln>
      </dgm:spPr>
      <dgm:t>
        <a:bodyPr/>
        <a:lstStyle/>
        <a:p>
          <a:endParaRPr lang="en-US" sz="1000" b="1"/>
        </a:p>
      </dgm:t>
    </dgm:pt>
    <dgm:pt modelId="{F0F938A9-E8F2-4759-9C0A-EB76C102C3C3}" type="sibTrans" cxnId="{52446098-2E7E-4BF5-A179-97DD94581684}">
      <dgm:prSet/>
      <dgm:spPr/>
      <dgm:t>
        <a:bodyPr/>
        <a:lstStyle/>
        <a:p>
          <a:endParaRPr lang="en-US" sz="1000" b="1"/>
        </a:p>
      </dgm:t>
    </dgm:pt>
    <dgm:pt modelId="{807C3541-FEFF-4420-BA78-60ADD6E3C520}">
      <dgm:prSet custT="1"/>
      <dgm:spPr>
        <a:solidFill>
          <a:schemeClr val="bg2"/>
        </a:solidFill>
        <a:ln>
          <a:noFill/>
        </a:ln>
      </dgm:spPr>
      <dgm:t>
        <a:bodyPr/>
        <a:lstStyle/>
        <a:p>
          <a:r>
            <a:rPr lang="en-US" sz="1000" b="1" dirty="0"/>
            <a:t>1115 waiver</a:t>
          </a:r>
        </a:p>
      </dgm:t>
    </dgm:pt>
    <dgm:pt modelId="{68039E19-AE1C-4E5A-AEFE-CC2A1BE25DBA}" type="parTrans" cxnId="{662DBD0A-8B5E-429E-9CFE-18BE402E797F}">
      <dgm:prSet/>
      <dgm:spPr/>
      <dgm:t>
        <a:bodyPr/>
        <a:lstStyle/>
        <a:p>
          <a:endParaRPr lang="en-US" sz="1000" b="1"/>
        </a:p>
      </dgm:t>
    </dgm:pt>
    <dgm:pt modelId="{2FAE573F-C835-4FE7-8D68-DD646A3E3752}" type="sibTrans" cxnId="{662DBD0A-8B5E-429E-9CFE-18BE402E797F}">
      <dgm:prSet/>
      <dgm:spPr/>
      <dgm:t>
        <a:bodyPr/>
        <a:lstStyle/>
        <a:p>
          <a:endParaRPr lang="en-US" sz="1000" b="1"/>
        </a:p>
      </dgm:t>
    </dgm:pt>
    <dgm:pt modelId="{F19EAA58-7A66-455C-95C0-0562B3DE911B}">
      <dgm:prSet custT="1"/>
      <dgm:spPr>
        <a:solidFill>
          <a:schemeClr val="bg2"/>
        </a:solidFill>
        <a:ln>
          <a:noFill/>
        </a:ln>
      </dgm:spPr>
      <dgm:t>
        <a:bodyPr/>
        <a:lstStyle/>
        <a:p>
          <a:r>
            <a:rPr lang="en-US" sz="1000" b="1" dirty="0"/>
            <a:t>1332 waiver</a:t>
          </a:r>
        </a:p>
      </dgm:t>
    </dgm:pt>
    <dgm:pt modelId="{DB3E4C0E-AB25-4AE2-8D39-61BB991A52A7}" type="parTrans" cxnId="{0393CB2B-2930-44E4-93AE-941D72D857B6}">
      <dgm:prSet/>
      <dgm:spPr/>
      <dgm:t>
        <a:bodyPr/>
        <a:lstStyle/>
        <a:p>
          <a:endParaRPr lang="en-US" sz="1000" b="1"/>
        </a:p>
      </dgm:t>
    </dgm:pt>
    <dgm:pt modelId="{A5E45FA0-09FF-44DE-B7DF-EE2379CEAC16}" type="sibTrans" cxnId="{0393CB2B-2930-44E4-93AE-941D72D857B6}">
      <dgm:prSet/>
      <dgm:spPr/>
      <dgm:t>
        <a:bodyPr/>
        <a:lstStyle/>
        <a:p>
          <a:endParaRPr lang="en-US" sz="1000" b="1"/>
        </a:p>
      </dgm:t>
    </dgm:pt>
    <dgm:pt modelId="{D8A68DFF-3DE5-415D-BA59-2010C696728C}">
      <dgm:prSet custT="1"/>
      <dgm:spPr>
        <a:noFill/>
        <a:ln>
          <a:noFill/>
        </a:ln>
      </dgm:spPr>
      <dgm:t>
        <a:bodyPr/>
        <a:lstStyle/>
        <a:p>
          <a:r>
            <a:rPr lang="en-US" sz="1000" b="1" dirty="0">
              <a:solidFill>
                <a:schemeClr val="tx1"/>
              </a:solidFill>
            </a:rPr>
            <a:t>Approved (</a:t>
          </a:r>
          <a:r>
            <a:rPr lang="en-US" sz="1000" b="1" u="sng" dirty="0">
              <a:solidFill>
                <a:schemeClr val="tx1"/>
              </a:solidFill>
            </a:rPr>
            <a:t>&lt;1</a:t>
          </a:r>
          <a:r>
            <a:rPr lang="en-US" sz="1000" b="1" dirty="0">
              <a:solidFill>
                <a:schemeClr val="tx1"/>
              </a:solidFill>
            </a:rPr>
            <a:t>80 days)</a:t>
          </a:r>
          <a:endParaRPr lang="en-US" sz="1000" b="1" u="sng" dirty="0">
            <a:solidFill>
              <a:schemeClr val="tx1"/>
            </a:solidFill>
          </a:endParaRPr>
        </a:p>
      </dgm:t>
    </dgm:pt>
    <dgm:pt modelId="{6A54F4F7-F7B2-4ABF-9F73-FF9540FF4C80}" type="parTrans" cxnId="{3C8CAA45-248A-4ADF-93F8-F4CA8D96E11D}">
      <dgm:prSet/>
      <dgm:spPr>
        <a:ln>
          <a:solidFill>
            <a:schemeClr val="bg2"/>
          </a:solidFill>
          <a:headEnd type="none" w="med" len="med"/>
          <a:tailEnd type="triangle" w="med" len="med"/>
        </a:ln>
      </dgm:spPr>
      <dgm:t>
        <a:bodyPr/>
        <a:lstStyle/>
        <a:p>
          <a:endParaRPr lang="en-US" sz="1000" b="1"/>
        </a:p>
      </dgm:t>
    </dgm:pt>
    <dgm:pt modelId="{6C1BC2E9-4C37-410D-85D5-5F7E77A32D3C}" type="sibTrans" cxnId="{3C8CAA45-248A-4ADF-93F8-F4CA8D96E11D}">
      <dgm:prSet/>
      <dgm:spPr/>
      <dgm:t>
        <a:bodyPr/>
        <a:lstStyle/>
        <a:p>
          <a:endParaRPr lang="en-US" sz="1000" b="1"/>
        </a:p>
      </dgm:t>
    </dgm:pt>
    <dgm:pt modelId="{3198FF5D-F14A-4BEE-8017-5953967D90B8}">
      <dgm:prSet custT="1"/>
      <dgm:spPr>
        <a:noFill/>
        <a:ln>
          <a:noFill/>
        </a:ln>
      </dgm:spPr>
      <dgm:t>
        <a:bodyPr/>
        <a:lstStyle/>
        <a:p>
          <a:r>
            <a:rPr lang="en-US" sz="1000" b="1" dirty="0">
              <a:solidFill>
                <a:schemeClr val="tx1"/>
              </a:solidFill>
            </a:rPr>
            <a:t>Delay</a:t>
          </a:r>
        </a:p>
      </dgm:t>
    </dgm:pt>
    <dgm:pt modelId="{568A67E8-8B88-4F43-BA34-F10135585D2B}" type="parTrans" cxnId="{ACEB683B-FC52-4AB6-8E02-C021CDB00E93}">
      <dgm:prSet/>
      <dgm:spPr>
        <a:ln>
          <a:solidFill>
            <a:srgbClr val="FF0000"/>
          </a:solidFill>
          <a:prstDash val="lgDash"/>
          <a:headEnd type="none" w="med" len="med"/>
          <a:tailEnd type="triangle" w="med" len="med"/>
        </a:ln>
      </dgm:spPr>
      <dgm:t>
        <a:bodyPr/>
        <a:lstStyle/>
        <a:p>
          <a:endParaRPr lang="en-US" sz="1000" b="1"/>
        </a:p>
      </dgm:t>
    </dgm:pt>
    <dgm:pt modelId="{CC428D1D-7EC0-4636-B64E-74D254EBF2E5}" type="sibTrans" cxnId="{ACEB683B-FC52-4AB6-8E02-C021CDB00E93}">
      <dgm:prSet/>
      <dgm:spPr/>
      <dgm:t>
        <a:bodyPr/>
        <a:lstStyle/>
        <a:p>
          <a:endParaRPr lang="en-US" sz="1000" b="1"/>
        </a:p>
      </dgm:t>
    </dgm:pt>
    <dgm:pt modelId="{95C081EA-E623-4650-8D9D-F9DDE315F8E5}">
      <dgm:prSet phldrT="[Text]" custT="1"/>
      <dgm:spPr>
        <a:solidFill>
          <a:schemeClr val="bg1">
            <a:lumMod val="50000"/>
          </a:schemeClr>
        </a:solidFill>
        <a:ln>
          <a:noFill/>
        </a:ln>
      </dgm:spPr>
      <dgm:t>
        <a:bodyPr/>
        <a:lstStyle/>
        <a:p>
          <a:r>
            <a:rPr lang="en-US" sz="1000" b="1" dirty="0">
              <a:solidFill>
                <a:schemeClr val="bg1"/>
              </a:solidFill>
            </a:rPr>
            <a:t>State moves to Step 2</a:t>
          </a:r>
        </a:p>
      </dgm:t>
    </dgm:pt>
    <dgm:pt modelId="{0854C3F3-3B12-44C3-A3C2-FF2A3971B0EA}" type="sibTrans" cxnId="{1F135081-99B2-499E-AF49-E1B383697C50}">
      <dgm:prSet/>
      <dgm:spPr/>
      <dgm:t>
        <a:bodyPr/>
        <a:lstStyle/>
        <a:p>
          <a:endParaRPr lang="en-US" sz="1000" b="1"/>
        </a:p>
      </dgm:t>
    </dgm:pt>
    <dgm:pt modelId="{B56C1068-89F2-4261-94F2-98377A59CF83}" type="parTrans" cxnId="{1F135081-99B2-499E-AF49-E1B383697C50}">
      <dgm:prSet/>
      <dgm:spPr>
        <a:ln>
          <a:noFill/>
        </a:ln>
      </dgm:spPr>
      <dgm:t>
        <a:bodyPr/>
        <a:lstStyle/>
        <a:p>
          <a:endParaRPr lang="en-US" sz="1000" b="1"/>
        </a:p>
      </dgm:t>
    </dgm:pt>
    <dgm:pt modelId="{8F0F0D30-959A-4B9D-B564-38D42E50F4A6}">
      <dgm:prSet custT="1"/>
      <dgm:spPr>
        <a:solidFill>
          <a:srgbClr val="FFC000"/>
        </a:solidFill>
        <a:ln>
          <a:noFill/>
        </a:ln>
      </dgm:spPr>
      <dgm:t>
        <a:bodyPr/>
        <a:lstStyle/>
        <a:p>
          <a:r>
            <a:rPr lang="en-US" sz="1000" b="1" dirty="0">
              <a:solidFill>
                <a:schemeClr val="tx1"/>
              </a:solidFill>
            </a:rPr>
            <a:t>Delay</a:t>
          </a:r>
        </a:p>
      </dgm:t>
    </dgm:pt>
    <dgm:pt modelId="{AA1F1399-24DD-429F-A4BB-7911C2B8BFFA}" type="parTrans" cxnId="{C9849838-12A6-45D2-BA38-56E5532AE5C2}">
      <dgm:prSet/>
      <dgm:spPr>
        <a:ln>
          <a:noFill/>
        </a:ln>
      </dgm:spPr>
      <dgm:t>
        <a:bodyPr/>
        <a:lstStyle/>
        <a:p>
          <a:endParaRPr lang="en-US" sz="1000" b="1"/>
        </a:p>
      </dgm:t>
    </dgm:pt>
    <dgm:pt modelId="{0C815E20-8AF4-42B1-A7EB-3FE60654EA32}" type="sibTrans" cxnId="{C9849838-12A6-45D2-BA38-56E5532AE5C2}">
      <dgm:prSet/>
      <dgm:spPr/>
      <dgm:t>
        <a:bodyPr/>
        <a:lstStyle/>
        <a:p>
          <a:endParaRPr lang="en-US" sz="1000" b="1"/>
        </a:p>
      </dgm:t>
    </dgm:pt>
    <dgm:pt modelId="{5AF7821A-E4E4-49F2-8CDD-D8E21E18D6E7}" type="pres">
      <dgm:prSet presAssocID="{DD0D810A-461B-43AB-9074-9E97C0408D20}" presName="hierChild1" presStyleCnt="0">
        <dgm:presLayoutVars>
          <dgm:orgChart val="1"/>
          <dgm:chPref val="1"/>
          <dgm:dir/>
          <dgm:animOne val="branch"/>
          <dgm:animLvl val="lvl"/>
          <dgm:resizeHandles/>
        </dgm:presLayoutVars>
      </dgm:prSet>
      <dgm:spPr/>
    </dgm:pt>
    <dgm:pt modelId="{80C2B7DA-1707-47D2-8EFC-5288AE8913B6}" type="pres">
      <dgm:prSet presAssocID="{08EED27D-B691-455A-8D11-8D4400592106}" presName="hierRoot1" presStyleCnt="0">
        <dgm:presLayoutVars>
          <dgm:hierBranch val="init"/>
        </dgm:presLayoutVars>
      </dgm:prSet>
      <dgm:spPr/>
    </dgm:pt>
    <dgm:pt modelId="{6175FF66-8DB8-481C-B9D3-3EA8A4149F44}" type="pres">
      <dgm:prSet presAssocID="{08EED27D-B691-455A-8D11-8D4400592106}" presName="rootComposite1" presStyleCnt="0"/>
      <dgm:spPr/>
    </dgm:pt>
    <dgm:pt modelId="{CA82278E-F451-4EA7-A79E-93E1B57BBB1F}" type="pres">
      <dgm:prSet presAssocID="{08EED27D-B691-455A-8D11-8D4400592106}" presName="rootText1" presStyleLbl="node0" presStyleIdx="0" presStyleCnt="10" custScaleY="87697" custLinFactNeighborX="-44119" custLinFactNeighborY="2197">
        <dgm:presLayoutVars>
          <dgm:chPref val="3"/>
        </dgm:presLayoutVars>
      </dgm:prSet>
      <dgm:spPr>
        <a:prstGeom prst="roundRect">
          <a:avLst/>
        </a:prstGeom>
      </dgm:spPr>
    </dgm:pt>
    <dgm:pt modelId="{34623623-3BE4-45CF-BD25-CAAB9AF090E9}" type="pres">
      <dgm:prSet presAssocID="{08EED27D-B691-455A-8D11-8D4400592106}" presName="rootConnector1" presStyleLbl="node1" presStyleIdx="0" presStyleCnt="0"/>
      <dgm:spPr/>
    </dgm:pt>
    <dgm:pt modelId="{967DC226-F180-4127-893E-63135C92783A}" type="pres">
      <dgm:prSet presAssocID="{08EED27D-B691-455A-8D11-8D4400592106}" presName="hierChild2" presStyleCnt="0"/>
      <dgm:spPr/>
    </dgm:pt>
    <dgm:pt modelId="{138DA514-4305-4324-9DD8-A4E5D22470C0}" type="pres">
      <dgm:prSet presAssocID="{F777E9C7-1812-46A8-9B44-36F638B989E3}" presName="Name64" presStyleLbl="parChTrans1D2" presStyleIdx="0" presStyleCnt="10"/>
      <dgm:spPr/>
    </dgm:pt>
    <dgm:pt modelId="{A529037C-7282-41BC-829D-90E41CBB3114}" type="pres">
      <dgm:prSet presAssocID="{25689892-4E7D-40AA-A673-4C1F0CF0FA5A}" presName="hierRoot2" presStyleCnt="0">
        <dgm:presLayoutVars>
          <dgm:hierBranch val="init"/>
        </dgm:presLayoutVars>
      </dgm:prSet>
      <dgm:spPr/>
    </dgm:pt>
    <dgm:pt modelId="{C8B28FF1-0151-406F-9BD0-E3B77F05369F}" type="pres">
      <dgm:prSet presAssocID="{25689892-4E7D-40AA-A673-4C1F0CF0FA5A}" presName="rootComposite" presStyleCnt="0"/>
      <dgm:spPr/>
    </dgm:pt>
    <dgm:pt modelId="{D4AD3584-CCC7-4C5D-BA2B-08F7C45B2342}" type="pres">
      <dgm:prSet presAssocID="{25689892-4E7D-40AA-A673-4C1F0CF0FA5A}" presName="rootText" presStyleLbl="node2" presStyleIdx="0" presStyleCnt="10" custScaleY="146837" custLinFactNeighborX="48176" custLinFactNeighborY="2197">
        <dgm:presLayoutVars>
          <dgm:chPref val="3"/>
        </dgm:presLayoutVars>
      </dgm:prSet>
      <dgm:spPr>
        <a:prstGeom prst="roundRect">
          <a:avLst/>
        </a:prstGeom>
      </dgm:spPr>
    </dgm:pt>
    <dgm:pt modelId="{51A2BFE9-2CCD-44C6-9C5D-AA2D7B94BF08}" type="pres">
      <dgm:prSet presAssocID="{25689892-4E7D-40AA-A673-4C1F0CF0FA5A}" presName="rootConnector" presStyleLbl="node2" presStyleIdx="0" presStyleCnt="10"/>
      <dgm:spPr/>
    </dgm:pt>
    <dgm:pt modelId="{ABD2552C-D71B-4C5F-AD9C-234A9D45F0AB}" type="pres">
      <dgm:prSet presAssocID="{25689892-4E7D-40AA-A673-4C1F0CF0FA5A}" presName="hierChild4" presStyleCnt="0"/>
      <dgm:spPr/>
    </dgm:pt>
    <dgm:pt modelId="{1D238B17-4702-4BC2-BE36-EB12789119F6}" type="pres">
      <dgm:prSet presAssocID="{B56C1068-89F2-4261-94F2-98377A59CF83}" presName="Name64" presStyleLbl="parChTrans1D3" presStyleIdx="0" presStyleCnt="5"/>
      <dgm:spPr/>
    </dgm:pt>
    <dgm:pt modelId="{004F2797-0A35-4803-A8F6-A10C3F438A71}" type="pres">
      <dgm:prSet presAssocID="{95C081EA-E623-4650-8D9D-F9DDE315F8E5}" presName="hierRoot2" presStyleCnt="0">
        <dgm:presLayoutVars>
          <dgm:hierBranch val="init"/>
        </dgm:presLayoutVars>
      </dgm:prSet>
      <dgm:spPr/>
    </dgm:pt>
    <dgm:pt modelId="{177DA025-CC0E-40EB-81C5-DD183799493A}" type="pres">
      <dgm:prSet presAssocID="{95C081EA-E623-4650-8D9D-F9DDE315F8E5}" presName="rootComposite" presStyleCnt="0"/>
      <dgm:spPr/>
    </dgm:pt>
    <dgm:pt modelId="{0EE0040A-1396-415B-8C01-1232BE958866}" type="pres">
      <dgm:prSet presAssocID="{95C081EA-E623-4650-8D9D-F9DDE315F8E5}" presName="rootText" presStyleLbl="node3" presStyleIdx="0" presStyleCnt="5" custScaleX="179414" custScaleY="227607" custLinFactX="56620" custLinFactNeighborX="100000" custLinFactNeighborY="64947">
        <dgm:presLayoutVars>
          <dgm:chPref val="3"/>
        </dgm:presLayoutVars>
      </dgm:prSet>
      <dgm:spPr>
        <a:prstGeom prst="chevron">
          <a:avLst/>
        </a:prstGeom>
      </dgm:spPr>
    </dgm:pt>
    <dgm:pt modelId="{86C0B054-993D-4151-9D3E-C2A00B395E81}" type="pres">
      <dgm:prSet presAssocID="{95C081EA-E623-4650-8D9D-F9DDE315F8E5}" presName="rootConnector" presStyleLbl="node3" presStyleIdx="0" presStyleCnt="5"/>
      <dgm:spPr/>
    </dgm:pt>
    <dgm:pt modelId="{EBB6F584-BB2C-455C-8241-A86734C8CD05}" type="pres">
      <dgm:prSet presAssocID="{95C081EA-E623-4650-8D9D-F9DDE315F8E5}" presName="hierChild4" presStyleCnt="0"/>
      <dgm:spPr/>
    </dgm:pt>
    <dgm:pt modelId="{52201E78-AF28-46F4-909E-5B63B07F75CF}" type="pres">
      <dgm:prSet presAssocID="{95C081EA-E623-4650-8D9D-F9DDE315F8E5}" presName="hierChild5" presStyleCnt="0"/>
      <dgm:spPr/>
    </dgm:pt>
    <dgm:pt modelId="{50E30CAA-BFDE-437B-B60D-77B70AB889E5}" type="pres">
      <dgm:prSet presAssocID="{25689892-4E7D-40AA-A673-4C1F0CF0FA5A}" presName="hierChild5" presStyleCnt="0"/>
      <dgm:spPr/>
    </dgm:pt>
    <dgm:pt modelId="{CE207384-9C5C-42F5-AA42-3083E271C6CA}" type="pres">
      <dgm:prSet presAssocID="{08EED27D-B691-455A-8D11-8D4400592106}" presName="hierChild3" presStyleCnt="0"/>
      <dgm:spPr/>
    </dgm:pt>
    <dgm:pt modelId="{4BD177F1-71A5-42DC-ADD4-97EB642BC6F7}" type="pres">
      <dgm:prSet presAssocID="{A0160691-C5F9-44B8-9B17-16C16C30252D}" presName="hierRoot1" presStyleCnt="0">
        <dgm:presLayoutVars>
          <dgm:hierBranch val="init"/>
        </dgm:presLayoutVars>
      </dgm:prSet>
      <dgm:spPr/>
    </dgm:pt>
    <dgm:pt modelId="{46DA27E1-06FD-4F4A-A9DF-3CD32D763FE7}" type="pres">
      <dgm:prSet presAssocID="{A0160691-C5F9-44B8-9B17-16C16C30252D}" presName="rootComposite1" presStyleCnt="0"/>
      <dgm:spPr/>
    </dgm:pt>
    <dgm:pt modelId="{EBCCF8B9-6E13-4F0A-BE2A-F8631A1C1FC2}" type="pres">
      <dgm:prSet presAssocID="{A0160691-C5F9-44B8-9B17-16C16C30252D}" presName="rootText1" presStyleLbl="node0" presStyleIdx="1" presStyleCnt="10" custScaleY="87697" custLinFactNeighborX="-44119" custLinFactNeighborY="-66021">
        <dgm:presLayoutVars>
          <dgm:chPref val="3"/>
        </dgm:presLayoutVars>
      </dgm:prSet>
      <dgm:spPr>
        <a:prstGeom prst="roundRect">
          <a:avLst/>
        </a:prstGeom>
      </dgm:spPr>
    </dgm:pt>
    <dgm:pt modelId="{E0713CEF-0EB2-4330-9243-6E22FB263EAB}" type="pres">
      <dgm:prSet presAssocID="{A0160691-C5F9-44B8-9B17-16C16C30252D}" presName="rootConnector1" presStyleLbl="node1" presStyleIdx="0" presStyleCnt="0"/>
      <dgm:spPr/>
    </dgm:pt>
    <dgm:pt modelId="{C1664349-10AB-46D2-94A6-63717898D71D}" type="pres">
      <dgm:prSet presAssocID="{A0160691-C5F9-44B8-9B17-16C16C30252D}" presName="hierChild2" presStyleCnt="0"/>
      <dgm:spPr/>
    </dgm:pt>
    <dgm:pt modelId="{E5C0F204-0BA5-475D-BA78-58C4F5296014}" type="pres">
      <dgm:prSet presAssocID="{3935ABD3-BCEB-4366-8068-AF4AC2EC6F86}" presName="Name64" presStyleLbl="parChTrans1D2" presStyleIdx="1" presStyleCnt="10"/>
      <dgm:spPr/>
    </dgm:pt>
    <dgm:pt modelId="{290712CB-1DDF-4D68-9E5C-7197A0534851}" type="pres">
      <dgm:prSet presAssocID="{181337CE-57D4-4E7A-A05B-60A37E2377AA}" presName="hierRoot2" presStyleCnt="0">
        <dgm:presLayoutVars>
          <dgm:hierBranch val="init"/>
        </dgm:presLayoutVars>
      </dgm:prSet>
      <dgm:spPr/>
    </dgm:pt>
    <dgm:pt modelId="{2E93130A-9444-4D53-BD77-CAA218240F42}" type="pres">
      <dgm:prSet presAssocID="{181337CE-57D4-4E7A-A05B-60A37E2377AA}" presName="rootComposite" presStyleCnt="0"/>
      <dgm:spPr/>
    </dgm:pt>
    <dgm:pt modelId="{B8AA2A11-64AA-4FE4-9F64-0E4D555198E6}" type="pres">
      <dgm:prSet presAssocID="{181337CE-57D4-4E7A-A05B-60A37E2377AA}" presName="rootText" presStyleLbl="node2" presStyleIdx="1" presStyleCnt="10" custScaleY="146837" custLinFactNeighborX="48176" custLinFactNeighborY="-66021">
        <dgm:presLayoutVars>
          <dgm:chPref val="3"/>
        </dgm:presLayoutVars>
      </dgm:prSet>
      <dgm:spPr>
        <a:prstGeom prst="ellipse">
          <a:avLst/>
        </a:prstGeom>
      </dgm:spPr>
    </dgm:pt>
    <dgm:pt modelId="{07A69A87-9540-482A-9996-68EA3C7E714E}" type="pres">
      <dgm:prSet presAssocID="{181337CE-57D4-4E7A-A05B-60A37E2377AA}" presName="rootConnector" presStyleLbl="node2" presStyleIdx="1" presStyleCnt="10"/>
      <dgm:spPr/>
    </dgm:pt>
    <dgm:pt modelId="{AA8EFDEF-8FD8-4933-A2B5-75D59B00BEFE}" type="pres">
      <dgm:prSet presAssocID="{181337CE-57D4-4E7A-A05B-60A37E2377AA}" presName="hierChild4" presStyleCnt="0"/>
      <dgm:spPr/>
    </dgm:pt>
    <dgm:pt modelId="{6023BCC4-6DF0-4399-99E0-F319E9304DD8}" type="pres">
      <dgm:prSet presAssocID="{181337CE-57D4-4E7A-A05B-60A37E2377AA}" presName="hierChild5" presStyleCnt="0"/>
      <dgm:spPr/>
    </dgm:pt>
    <dgm:pt modelId="{8D9E2A64-42B6-41B5-BBB9-2B0527FD2A03}" type="pres">
      <dgm:prSet presAssocID="{A0160691-C5F9-44B8-9B17-16C16C30252D}" presName="hierChild3" presStyleCnt="0"/>
      <dgm:spPr/>
    </dgm:pt>
    <dgm:pt modelId="{8B5217B2-D8A9-4406-95CD-193DFB136C0C}" type="pres">
      <dgm:prSet presAssocID="{374E3B40-BBBE-480A-AFB4-88D490633E79}" presName="hierRoot1" presStyleCnt="0">
        <dgm:presLayoutVars>
          <dgm:hierBranch val="init"/>
        </dgm:presLayoutVars>
      </dgm:prSet>
      <dgm:spPr/>
    </dgm:pt>
    <dgm:pt modelId="{96E018EA-A970-4DA3-830B-5B7BB854B367}" type="pres">
      <dgm:prSet presAssocID="{374E3B40-BBBE-480A-AFB4-88D490633E79}" presName="rootComposite1" presStyleCnt="0"/>
      <dgm:spPr/>
    </dgm:pt>
    <dgm:pt modelId="{9FC8182C-B293-4C29-819C-5B43DEE42D86}" type="pres">
      <dgm:prSet presAssocID="{374E3B40-BBBE-480A-AFB4-88D490633E79}" presName="rootText1" presStyleLbl="node0" presStyleIdx="2" presStyleCnt="10" custScaleY="87697" custLinFactNeighborX="-44119" custLinFactNeighborY="35057">
        <dgm:presLayoutVars>
          <dgm:chPref val="3"/>
        </dgm:presLayoutVars>
      </dgm:prSet>
      <dgm:spPr>
        <a:prstGeom prst="roundRect">
          <a:avLst/>
        </a:prstGeom>
      </dgm:spPr>
    </dgm:pt>
    <dgm:pt modelId="{9F0BEDB9-7DCE-4904-9629-127EC139FFBD}" type="pres">
      <dgm:prSet presAssocID="{374E3B40-BBBE-480A-AFB4-88D490633E79}" presName="rootConnector1" presStyleLbl="node1" presStyleIdx="0" presStyleCnt="0"/>
      <dgm:spPr/>
    </dgm:pt>
    <dgm:pt modelId="{A604F5CC-EA0C-465B-AA09-58BA5C447BF1}" type="pres">
      <dgm:prSet presAssocID="{374E3B40-BBBE-480A-AFB4-88D490633E79}" presName="hierChild2" presStyleCnt="0"/>
      <dgm:spPr/>
    </dgm:pt>
    <dgm:pt modelId="{8FC2B97D-DB59-4737-9207-C815A23BF65E}" type="pres">
      <dgm:prSet presAssocID="{6E609385-C993-4BC2-9C17-F960FE135F9E}" presName="Name64" presStyleLbl="parChTrans1D2" presStyleIdx="2" presStyleCnt="10"/>
      <dgm:spPr/>
    </dgm:pt>
    <dgm:pt modelId="{34A0EE78-3DF5-4909-A7B6-15CBCD97511B}" type="pres">
      <dgm:prSet presAssocID="{EF3D876D-3EE3-4D07-AAFA-45A65E67153D}" presName="hierRoot2" presStyleCnt="0">
        <dgm:presLayoutVars>
          <dgm:hierBranch val="init"/>
        </dgm:presLayoutVars>
      </dgm:prSet>
      <dgm:spPr/>
    </dgm:pt>
    <dgm:pt modelId="{29389128-715E-4BB8-9030-711F62B0656F}" type="pres">
      <dgm:prSet presAssocID="{EF3D876D-3EE3-4D07-AAFA-45A65E67153D}" presName="rootComposite" presStyleCnt="0"/>
      <dgm:spPr/>
    </dgm:pt>
    <dgm:pt modelId="{3F481A9A-E90C-4996-961E-95AB6F4713AE}" type="pres">
      <dgm:prSet presAssocID="{EF3D876D-3EE3-4D07-AAFA-45A65E67153D}" presName="rootText" presStyleLbl="node2" presStyleIdx="2" presStyleCnt="10" custScaleY="146837" custLinFactNeighborX="48176" custLinFactNeighborY="35057">
        <dgm:presLayoutVars>
          <dgm:chPref val="3"/>
        </dgm:presLayoutVars>
      </dgm:prSet>
      <dgm:spPr>
        <a:prstGeom prst="ellipse">
          <a:avLst/>
        </a:prstGeom>
      </dgm:spPr>
    </dgm:pt>
    <dgm:pt modelId="{F8C2BD55-4131-46B1-9C8F-F2A0FB0317A4}" type="pres">
      <dgm:prSet presAssocID="{EF3D876D-3EE3-4D07-AAFA-45A65E67153D}" presName="rootConnector" presStyleLbl="node2" presStyleIdx="2" presStyleCnt="10"/>
      <dgm:spPr/>
    </dgm:pt>
    <dgm:pt modelId="{89649727-9223-4170-8570-F806B1255349}" type="pres">
      <dgm:prSet presAssocID="{EF3D876D-3EE3-4D07-AAFA-45A65E67153D}" presName="hierChild4" presStyleCnt="0"/>
      <dgm:spPr/>
    </dgm:pt>
    <dgm:pt modelId="{13B287E4-143C-46B8-BB97-EE4AB23BB594}" type="pres">
      <dgm:prSet presAssocID="{A20406A2-2D7C-4A2D-8277-F2D7CFFC3989}" presName="Name64" presStyleLbl="parChTrans1D3" presStyleIdx="1" presStyleCnt="5"/>
      <dgm:spPr/>
    </dgm:pt>
    <dgm:pt modelId="{167D6D34-8479-49A9-90D8-463019E5D7C4}" type="pres">
      <dgm:prSet presAssocID="{5CC210C8-5E6E-48F0-8FD0-6A866839FB6B}" presName="hierRoot2" presStyleCnt="0">
        <dgm:presLayoutVars>
          <dgm:hierBranch val="init"/>
        </dgm:presLayoutVars>
      </dgm:prSet>
      <dgm:spPr/>
    </dgm:pt>
    <dgm:pt modelId="{3D41579B-CEFC-4F48-90A9-71177D2BC668}" type="pres">
      <dgm:prSet presAssocID="{5CC210C8-5E6E-48F0-8FD0-6A866839FB6B}" presName="rootComposite" presStyleCnt="0"/>
      <dgm:spPr/>
    </dgm:pt>
    <dgm:pt modelId="{819DBB63-9FFA-4E43-A6FD-4C64089534ED}" type="pres">
      <dgm:prSet presAssocID="{5CC210C8-5E6E-48F0-8FD0-6A866839FB6B}" presName="rootText" presStyleLbl="node3" presStyleIdx="1" presStyleCnt="5" custScaleX="179414" custScaleY="227607" custLinFactX="56294" custLinFactNeighborX="100000" custLinFactNeighborY="70899">
        <dgm:presLayoutVars>
          <dgm:chPref val="3"/>
        </dgm:presLayoutVars>
      </dgm:prSet>
      <dgm:spPr>
        <a:prstGeom prst="chevron">
          <a:avLst/>
        </a:prstGeom>
      </dgm:spPr>
    </dgm:pt>
    <dgm:pt modelId="{61996124-B121-4C46-839E-B33748350A1C}" type="pres">
      <dgm:prSet presAssocID="{5CC210C8-5E6E-48F0-8FD0-6A866839FB6B}" presName="rootConnector" presStyleLbl="node3" presStyleIdx="1" presStyleCnt="5"/>
      <dgm:spPr/>
    </dgm:pt>
    <dgm:pt modelId="{54A2FDD9-E01D-4F18-A735-3C0A31DB24C6}" type="pres">
      <dgm:prSet presAssocID="{5CC210C8-5E6E-48F0-8FD0-6A866839FB6B}" presName="hierChild4" presStyleCnt="0"/>
      <dgm:spPr/>
    </dgm:pt>
    <dgm:pt modelId="{A51272A7-807E-45A4-8542-482B290D118F}" type="pres">
      <dgm:prSet presAssocID="{5CC210C8-5E6E-48F0-8FD0-6A866839FB6B}" presName="hierChild5" presStyleCnt="0"/>
      <dgm:spPr/>
    </dgm:pt>
    <dgm:pt modelId="{012871F6-A4FF-4931-B07F-977EBC7CF012}" type="pres">
      <dgm:prSet presAssocID="{EF3D876D-3EE3-4D07-AAFA-45A65E67153D}" presName="hierChild5" presStyleCnt="0"/>
      <dgm:spPr/>
    </dgm:pt>
    <dgm:pt modelId="{FE254E6B-1A30-45E9-9FD1-F9E71E9C56CB}" type="pres">
      <dgm:prSet presAssocID="{374E3B40-BBBE-480A-AFB4-88D490633E79}" presName="hierChild3" presStyleCnt="0"/>
      <dgm:spPr/>
    </dgm:pt>
    <dgm:pt modelId="{DE52C9D7-1C26-4F2C-8884-F0161087CFEC}" type="pres">
      <dgm:prSet presAssocID="{85023C2C-452D-4AC9-A6FA-0F9D7138C59C}" presName="hierRoot1" presStyleCnt="0">
        <dgm:presLayoutVars>
          <dgm:hierBranch val="init"/>
        </dgm:presLayoutVars>
      </dgm:prSet>
      <dgm:spPr/>
    </dgm:pt>
    <dgm:pt modelId="{2594697B-A8B0-4DF6-9B4B-C4C147C6BFE4}" type="pres">
      <dgm:prSet presAssocID="{85023C2C-452D-4AC9-A6FA-0F9D7138C59C}" presName="rootComposite1" presStyleCnt="0"/>
      <dgm:spPr/>
    </dgm:pt>
    <dgm:pt modelId="{66F839EA-1216-4387-BF5F-361D2D94650D}" type="pres">
      <dgm:prSet presAssocID="{85023C2C-452D-4AC9-A6FA-0F9D7138C59C}" presName="rootText1" presStyleLbl="node0" presStyleIdx="3" presStyleCnt="10" custScaleY="87697" custLinFactNeighborX="-44119" custLinFactNeighborY="-33160">
        <dgm:presLayoutVars>
          <dgm:chPref val="3"/>
        </dgm:presLayoutVars>
      </dgm:prSet>
      <dgm:spPr>
        <a:prstGeom prst="roundRect">
          <a:avLst/>
        </a:prstGeom>
      </dgm:spPr>
    </dgm:pt>
    <dgm:pt modelId="{CFC18B94-4FBA-47CD-ABD6-749462FCC69A}" type="pres">
      <dgm:prSet presAssocID="{85023C2C-452D-4AC9-A6FA-0F9D7138C59C}" presName="rootConnector1" presStyleLbl="node1" presStyleIdx="0" presStyleCnt="0"/>
      <dgm:spPr/>
    </dgm:pt>
    <dgm:pt modelId="{8008F72F-2BF3-4F4B-B1AE-6D23C28FEC3F}" type="pres">
      <dgm:prSet presAssocID="{85023C2C-452D-4AC9-A6FA-0F9D7138C59C}" presName="hierChild2" presStyleCnt="0"/>
      <dgm:spPr/>
    </dgm:pt>
    <dgm:pt modelId="{9484AD96-A6D5-4748-969C-E4B92A970937}" type="pres">
      <dgm:prSet presAssocID="{BC42BC40-0016-4436-879E-4DDC17E681D8}" presName="Name64" presStyleLbl="parChTrans1D2" presStyleIdx="3" presStyleCnt="10"/>
      <dgm:spPr/>
    </dgm:pt>
    <dgm:pt modelId="{F0908C13-C516-4E97-AE4F-A27E3162C72B}" type="pres">
      <dgm:prSet presAssocID="{4E5FFA0C-6510-4201-A7B1-ABD5AEF2D97A}" presName="hierRoot2" presStyleCnt="0">
        <dgm:presLayoutVars>
          <dgm:hierBranch val="init"/>
        </dgm:presLayoutVars>
      </dgm:prSet>
      <dgm:spPr/>
    </dgm:pt>
    <dgm:pt modelId="{2E81F640-154B-4417-B0A9-D6EB5324CCDA}" type="pres">
      <dgm:prSet presAssocID="{4E5FFA0C-6510-4201-A7B1-ABD5AEF2D97A}" presName="rootComposite" presStyleCnt="0"/>
      <dgm:spPr/>
    </dgm:pt>
    <dgm:pt modelId="{20E39DE7-734B-43EE-83E1-5DA2E5DB6F29}" type="pres">
      <dgm:prSet presAssocID="{4E5FFA0C-6510-4201-A7B1-ABD5AEF2D97A}" presName="rootText" presStyleLbl="node2" presStyleIdx="3" presStyleCnt="10" custScaleY="146837" custLinFactNeighborX="48176" custLinFactNeighborY="-33160">
        <dgm:presLayoutVars>
          <dgm:chPref val="3"/>
        </dgm:presLayoutVars>
      </dgm:prSet>
      <dgm:spPr>
        <a:prstGeom prst="ellipse">
          <a:avLst/>
        </a:prstGeom>
      </dgm:spPr>
    </dgm:pt>
    <dgm:pt modelId="{6F1015F1-923E-445D-9DC0-CC0AADDA21B0}" type="pres">
      <dgm:prSet presAssocID="{4E5FFA0C-6510-4201-A7B1-ABD5AEF2D97A}" presName="rootConnector" presStyleLbl="node2" presStyleIdx="3" presStyleCnt="10"/>
      <dgm:spPr/>
    </dgm:pt>
    <dgm:pt modelId="{47F9191B-8921-427D-A218-4B1FA0964AB1}" type="pres">
      <dgm:prSet presAssocID="{4E5FFA0C-6510-4201-A7B1-ABD5AEF2D97A}" presName="hierChild4" presStyleCnt="0"/>
      <dgm:spPr/>
    </dgm:pt>
    <dgm:pt modelId="{3CAB266D-C7D7-412C-A49D-595498C85A94}" type="pres">
      <dgm:prSet presAssocID="{4E5FFA0C-6510-4201-A7B1-ABD5AEF2D97A}" presName="hierChild5" presStyleCnt="0"/>
      <dgm:spPr/>
    </dgm:pt>
    <dgm:pt modelId="{2FCDA872-C4AD-4128-907B-23A336D4CF4F}" type="pres">
      <dgm:prSet presAssocID="{85023C2C-452D-4AC9-A6FA-0F9D7138C59C}" presName="hierChild3" presStyleCnt="0"/>
      <dgm:spPr/>
    </dgm:pt>
    <dgm:pt modelId="{548E39BF-3D16-4FA0-806F-A12583432E44}" type="pres">
      <dgm:prSet presAssocID="{6C071D51-77B8-4EFD-9FB6-FCEF2ADC1246}" presName="hierRoot1" presStyleCnt="0">
        <dgm:presLayoutVars>
          <dgm:hierBranch val="init"/>
        </dgm:presLayoutVars>
      </dgm:prSet>
      <dgm:spPr/>
    </dgm:pt>
    <dgm:pt modelId="{CE63C615-46B4-4681-A9AF-FAB968BA1A11}" type="pres">
      <dgm:prSet presAssocID="{6C071D51-77B8-4EFD-9FB6-FCEF2ADC1246}" presName="rootComposite1" presStyleCnt="0"/>
      <dgm:spPr/>
    </dgm:pt>
    <dgm:pt modelId="{34B92687-26AF-45EB-AA9C-D562FD3F5B8B}" type="pres">
      <dgm:prSet presAssocID="{6C071D51-77B8-4EFD-9FB6-FCEF2ADC1246}" presName="rootText1" presStyleLbl="node0" presStyleIdx="4" presStyleCnt="10" custScaleY="87697" custLinFactNeighborX="-44119" custLinFactNeighborY="67918">
        <dgm:presLayoutVars>
          <dgm:chPref val="3"/>
        </dgm:presLayoutVars>
      </dgm:prSet>
      <dgm:spPr>
        <a:prstGeom prst="roundRect">
          <a:avLst/>
        </a:prstGeom>
      </dgm:spPr>
    </dgm:pt>
    <dgm:pt modelId="{10904998-4AC3-4226-96FF-4468A42FBDAE}" type="pres">
      <dgm:prSet presAssocID="{6C071D51-77B8-4EFD-9FB6-FCEF2ADC1246}" presName="rootConnector1" presStyleLbl="node1" presStyleIdx="0" presStyleCnt="0"/>
      <dgm:spPr/>
    </dgm:pt>
    <dgm:pt modelId="{314849F8-32DF-4E05-86A2-78390C9812CA}" type="pres">
      <dgm:prSet presAssocID="{6C071D51-77B8-4EFD-9FB6-FCEF2ADC1246}" presName="hierChild2" presStyleCnt="0"/>
      <dgm:spPr/>
    </dgm:pt>
    <dgm:pt modelId="{F580550D-7334-4B9E-95B2-51BB673FC8D1}" type="pres">
      <dgm:prSet presAssocID="{E5F8A749-E885-42C9-B9EE-5E6294529BB1}" presName="Name64" presStyleLbl="parChTrans1D2" presStyleIdx="4" presStyleCnt="10"/>
      <dgm:spPr/>
    </dgm:pt>
    <dgm:pt modelId="{5D024D76-02E8-4BC8-B6A7-1ED65FC22934}" type="pres">
      <dgm:prSet presAssocID="{0602ED7E-9C90-492C-B953-EE44638FBB95}" presName="hierRoot2" presStyleCnt="0">
        <dgm:presLayoutVars>
          <dgm:hierBranch val="init"/>
        </dgm:presLayoutVars>
      </dgm:prSet>
      <dgm:spPr/>
    </dgm:pt>
    <dgm:pt modelId="{58B89B0E-A179-4F98-A109-D527ACCA21EB}" type="pres">
      <dgm:prSet presAssocID="{0602ED7E-9C90-492C-B953-EE44638FBB95}" presName="rootComposite" presStyleCnt="0"/>
      <dgm:spPr/>
    </dgm:pt>
    <dgm:pt modelId="{4DA49A07-9EA0-48E0-9D38-EEBB3D0A0EA8}" type="pres">
      <dgm:prSet presAssocID="{0602ED7E-9C90-492C-B953-EE44638FBB95}" presName="rootText" presStyleLbl="node2" presStyleIdx="4" presStyleCnt="10" custScaleY="146837" custLinFactNeighborX="48176" custLinFactNeighborY="67918">
        <dgm:presLayoutVars>
          <dgm:chPref val="3"/>
        </dgm:presLayoutVars>
      </dgm:prSet>
      <dgm:spPr>
        <a:prstGeom prst="ellipse">
          <a:avLst/>
        </a:prstGeom>
      </dgm:spPr>
    </dgm:pt>
    <dgm:pt modelId="{791FDAA3-E3B9-44A0-A506-C5A7896959A9}" type="pres">
      <dgm:prSet presAssocID="{0602ED7E-9C90-492C-B953-EE44638FBB95}" presName="rootConnector" presStyleLbl="node2" presStyleIdx="4" presStyleCnt="10"/>
      <dgm:spPr/>
    </dgm:pt>
    <dgm:pt modelId="{F4BAA4A6-4A8D-4FE3-BE4B-970580080373}" type="pres">
      <dgm:prSet presAssocID="{0602ED7E-9C90-492C-B953-EE44638FBB95}" presName="hierChild4" presStyleCnt="0"/>
      <dgm:spPr/>
    </dgm:pt>
    <dgm:pt modelId="{88CBFC17-B32F-40BB-A01F-845BE2F3B3D2}" type="pres">
      <dgm:prSet presAssocID="{1DF9E748-BE9E-4485-997D-1484062506CD}" presName="Name64" presStyleLbl="parChTrans1D3" presStyleIdx="2" presStyleCnt="5"/>
      <dgm:spPr/>
    </dgm:pt>
    <dgm:pt modelId="{497FC27D-FBFD-40FD-B143-73D58863783C}" type="pres">
      <dgm:prSet presAssocID="{AD6FBD3B-8A7D-4317-BB75-D2A9592FB8BE}" presName="hierRoot2" presStyleCnt="0">
        <dgm:presLayoutVars>
          <dgm:hierBranch val="init"/>
        </dgm:presLayoutVars>
      </dgm:prSet>
      <dgm:spPr/>
    </dgm:pt>
    <dgm:pt modelId="{7A78D83F-1F19-49EA-A692-D8C7154E0D2A}" type="pres">
      <dgm:prSet presAssocID="{AD6FBD3B-8A7D-4317-BB75-D2A9592FB8BE}" presName="rootComposite" presStyleCnt="0"/>
      <dgm:spPr/>
    </dgm:pt>
    <dgm:pt modelId="{185F49BA-0FB4-494E-888E-7DA48969E1D5}" type="pres">
      <dgm:prSet presAssocID="{AD6FBD3B-8A7D-4317-BB75-D2A9592FB8BE}" presName="rootText" presStyleLbl="node3" presStyleIdx="2" presStyleCnt="5" custScaleX="179414" custScaleY="261441" custLinFactX="52444" custLinFactY="38992" custLinFactNeighborX="100000" custLinFactNeighborY="100000">
        <dgm:presLayoutVars>
          <dgm:chPref val="3"/>
        </dgm:presLayoutVars>
      </dgm:prSet>
      <dgm:spPr>
        <a:prstGeom prst="flowChartDisplay">
          <a:avLst/>
        </a:prstGeom>
      </dgm:spPr>
    </dgm:pt>
    <dgm:pt modelId="{B807D448-C164-41F3-952C-4662C5DAB639}" type="pres">
      <dgm:prSet presAssocID="{AD6FBD3B-8A7D-4317-BB75-D2A9592FB8BE}" presName="rootConnector" presStyleLbl="node3" presStyleIdx="2" presStyleCnt="5"/>
      <dgm:spPr/>
    </dgm:pt>
    <dgm:pt modelId="{41C29178-ECF4-45D7-97EE-1D8ED8D70730}" type="pres">
      <dgm:prSet presAssocID="{AD6FBD3B-8A7D-4317-BB75-D2A9592FB8BE}" presName="hierChild4" presStyleCnt="0"/>
      <dgm:spPr/>
    </dgm:pt>
    <dgm:pt modelId="{C84A8BD9-3428-4B7A-98EA-1C0776D2CFCB}" type="pres">
      <dgm:prSet presAssocID="{AD6FBD3B-8A7D-4317-BB75-D2A9592FB8BE}" presName="hierChild5" presStyleCnt="0"/>
      <dgm:spPr/>
    </dgm:pt>
    <dgm:pt modelId="{3EF75164-2C5D-4F1B-95FD-4DE87B539CD2}" type="pres">
      <dgm:prSet presAssocID="{0602ED7E-9C90-492C-B953-EE44638FBB95}" presName="hierChild5" presStyleCnt="0"/>
      <dgm:spPr/>
    </dgm:pt>
    <dgm:pt modelId="{D01537A8-DB3F-48BC-9816-2C81E1C2DE94}" type="pres">
      <dgm:prSet presAssocID="{6C071D51-77B8-4EFD-9FB6-FCEF2ADC1246}" presName="hierChild3" presStyleCnt="0"/>
      <dgm:spPr/>
    </dgm:pt>
    <dgm:pt modelId="{07595309-A3B9-48F5-9DA7-A602069CE35A}" type="pres">
      <dgm:prSet presAssocID="{FD1DBDAA-A001-4591-8DE7-1CF832D5998F}" presName="hierRoot1" presStyleCnt="0">
        <dgm:presLayoutVars>
          <dgm:hierBranch val="init"/>
        </dgm:presLayoutVars>
      </dgm:prSet>
      <dgm:spPr/>
    </dgm:pt>
    <dgm:pt modelId="{974122BA-7B94-445E-9A7E-07E6376AF83F}" type="pres">
      <dgm:prSet presAssocID="{FD1DBDAA-A001-4591-8DE7-1CF832D5998F}" presName="rootComposite1" presStyleCnt="0"/>
      <dgm:spPr/>
    </dgm:pt>
    <dgm:pt modelId="{1493CCFF-D6F7-4055-977E-E02F35F1D3DE}" type="pres">
      <dgm:prSet presAssocID="{FD1DBDAA-A001-4591-8DE7-1CF832D5998F}" presName="rootText1" presStyleLbl="node0" presStyleIdx="5" presStyleCnt="10" custScaleY="87697" custLinFactNeighborX="-44119" custLinFactNeighborY="-299">
        <dgm:presLayoutVars>
          <dgm:chPref val="3"/>
        </dgm:presLayoutVars>
      </dgm:prSet>
      <dgm:spPr>
        <a:prstGeom prst="roundRect">
          <a:avLst/>
        </a:prstGeom>
      </dgm:spPr>
    </dgm:pt>
    <dgm:pt modelId="{33967DC3-621D-400D-945C-99F4F4EA2AAA}" type="pres">
      <dgm:prSet presAssocID="{FD1DBDAA-A001-4591-8DE7-1CF832D5998F}" presName="rootConnector1" presStyleLbl="node1" presStyleIdx="0" presStyleCnt="0"/>
      <dgm:spPr/>
    </dgm:pt>
    <dgm:pt modelId="{2859A2DD-E9BA-47AF-AA9B-6FA676AF0567}" type="pres">
      <dgm:prSet presAssocID="{FD1DBDAA-A001-4591-8DE7-1CF832D5998F}" presName="hierChild2" presStyleCnt="0"/>
      <dgm:spPr/>
    </dgm:pt>
    <dgm:pt modelId="{25C2574F-6633-42E9-9DE8-5FC0DBDAE680}" type="pres">
      <dgm:prSet presAssocID="{D7AD2902-6F37-4EB6-B6EC-C1349D73C805}" presName="Name64" presStyleLbl="parChTrans1D2" presStyleIdx="5" presStyleCnt="10"/>
      <dgm:spPr/>
    </dgm:pt>
    <dgm:pt modelId="{91A9D603-466A-43DE-9FD8-208786251578}" type="pres">
      <dgm:prSet presAssocID="{D54A7B4A-DF66-40C0-906F-D4D32F04FB90}" presName="hierRoot2" presStyleCnt="0">
        <dgm:presLayoutVars>
          <dgm:hierBranch val="init"/>
        </dgm:presLayoutVars>
      </dgm:prSet>
      <dgm:spPr/>
    </dgm:pt>
    <dgm:pt modelId="{52F0CA5A-9A48-40E8-AA0C-44FA35337413}" type="pres">
      <dgm:prSet presAssocID="{D54A7B4A-DF66-40C0-906F-D4D32F04FB90}" presName="rootComposite" presStyleCnt="0"/>
      <dgm:spPr/>
    </dgm:pt>
    <dgm:pt modelId="{1E5E492B-8977-4BF8-9DC9-D4782DC096AF}" type="pres">
      <dgm:prSet presAssocID="{D54A7B4A-DF66-40C0-906F-D4D32F04FB90}" presName="rootText" presStyleLbl="node2" presStyleIdx="5" presStyleCnt="10" custScaleY="146837" custLinFactNeighborX="48176" custLinFactNeighborY="-299">
        <dgm:presLayoutVars>
          <dgm:chPref val="3"/>
        </dgm:presLayoutVars>
      </dgm:prSet>
      <dgm:spPr>
        <a:prstGeom prst="ellipse">
          <a:avLst/>
        </a:prstGeom>
      </dgm:spPr>
    </dgm:pt>
    <dgm:pt modelId="{79FC5B86-667A-48F0-BC3B-753A77B62F21}" type="pres">
      <dgm:prSet presAssocID="{D54A7B4A-DF66-40C0-906F-D4D32F04FB90}" presName="rootConnector" presStyleLbl="node2" presStyleIdx="5" presStyleCnt="10"/>
      <dgm:spPr/>
    </dgm:pt>
    <dgm:pt modelId="{C3FABB16-6986-477C-85AC-837CF6E36880}" type="pres">
      <dgm:prSet presAssocID="{D54A7B4A-DF66-40C0-906F-D4D32F04FB90}" presName="hierChild4" presStyleCnt="0"/>
      <dgm:spPr/>
    </dgm:pt>
    <dgm:pt modelId="{6D803701-C068-41F9-A6E9-21BD3565B757}" type="pres">
      <dgm:prSet presAssocID="{D54A7B4A-DF66-40C0-906F-D4D32F04FB90}" presName="hierChild5" presStyleCnt="0"/>
      <dgm:spPr/>
    </dgm:pt>
    <dgm:pt modelId="{28492763-9DB5-4240-8B04-43476765A33E}" type="pres">
      <dgm:prSet presAssocID="{FD1DBDAA-A001-4591-8DE7-1CF832D5998F}" presName="hierChild3" presStyleCnt="0"/>
      <dgm:spPr/>
    </dgm:pt>
    <dgm:pt modelId="{001948FA-E806-4F89-8051-469D51A0BD45}" type="pres">
      <dgm:prSet presAssocID="{3AFB4E32-1F59-4D07-BCF8-91DA61B65CFA}" presName="hierRoot1" presStyleCnt="0">
        <dgm:presLayoutVars>
          <dgm:hierBranch val="init"/>
        </dgm:presLayoutVars>
      </dgm:prSet>
      <dgm:spPr/>
    </dgm:pt>
    <dgm:pt modelId="{C8E4005C-8BA0-4418-9345-A28D77BDAD96}" type="pres">
      <dgm:prSet presAssocID="{3AFB4E32-1F59-4D07-BCF8-91DA61B65CFA}" presName="rootComposite1" presStyleCnt="0"/>
      <dgm:spPr/>
    </dgm:pt>
    <dgm:pt modelId="{E20FA9AC-5869-494E-B466-F33A9C4E61CA}" type="pres">
      <dgm:prSet presAssocID="{3AFB4E32-1F59-4D07-BCF8-91DA61B65CFA}" presName="rootText1" presStyleLbl="node0" presStyleIdx="6" presStyleCnt="10" custScaleY="87697" custLinFactY="779" custLinFactNeighborX="-44119" custLinFactNeighborY="100000">
        <dgm:presLayoutVars>
          <dgm:chPref val="3"/>
        </dgm:presLayoutVars>
      </dgm:prSet>
      <dgm:spPr>
        <a:prstGeom prst="roundRect">
          <a:avLst/>
        </a:prstGeom>
      </dgm:spPr>
    </dgm:pt>
    <dgm:pt modelId="{901DDE90-9F46-4960-83B6-2953376473B2}" type="pres">
      <dgm:prSet presAssocID="{3AFB4E32-1F59-4D07-BCF8-91DA61B65CFA}" presName="rootConnector1" presStyleLbl="node1" presStyleIdx="0" presStyleCnt="0"/>
      <dgm:spPr/>
    </dgm:pt>
    <dgm:pt modelId="{AA74E880-8463-48A8-92B4-64B031D88D92}" type="pres">
      <dgm:prSet presAssocID="{3AFB4E32-1F59-4D07-BCF8-91DA61B65CFA}" presName="hierChild2" presStyleCnt="0"/>
      <dgm:spPr/>
    </dgm:pt>
    <dgm:pt modelId="{84F78CD9-9F9D-4D64-A026-AF50DDC2F137}" type="pres">
      <dgm:prSet presAssocID="{DEC05715-FEDF-4412-9AD5-B59AB6420D07}" presName="Name64" presStyleLbl="parChTrans1D2" presStyleIdx="6" presStyleCnt="10"/>
      <dgm:spPr/>
    </dgm:pt>
    <dgm:pt modelId="{6ABE3FC4-A456-4536-BC85-D3DED5D8050C}" type="pres">
      <dgm:prSet presAssocID="{29E6D98C-7CD3-4CEA-9EFA-45A1CA2D803A}" presName="hierRoot2" presStyleCnt="0">
        <dgm:presLayoutVars>
          <dgm:hierBranch val="init"/>
        </dgm:presLayoutVars>
      </dgm:prSet>
      <dgm:spPr/>
    </dgm:pt>
    <dgm:pt modelId="{C94819F5-2AF4-488E-8BEA-64213FCED75A}" type="pres">
      <dgm:prSet presAssocID="{29E6D98C-7CD3-4CEA-9EFA-45A1CA2D803A}" presName="rootComposite" presStyleCnt="0"/>
      <dgm:spPr/>
    </dgm:pt>
    <dgm:pt modelId="{CE2D37E2-D65F-4650-8433-20B5E5B6F000}" type="pres">
      <dgm:prSet presAssocID="{29E6D98C-7CD3-4CEA-9EFA-45A1CA2D803A}" presName="rootText" presStyleLbl="node2" presStyleIdx="6" presStyleCnt="10" custScaleY="146837" custLinFactY="779" custLinFactNeighborX="48176" custLinFactNeighborY="100000">
        <dgm:presLayoutVars>
          <dgm:chPref val="3"/>
        </dgm:presLayoutVars>
      </dgm:prSet>
      <dgm:spPr>
        <a:prstGeom prst="ellipse">
          <a:avLst/>
        </a:prstGeom>
      </dgm:spPr>
    </dgm:pt>
    <dgm:pt modelId="{BD66ED11-FD0D-44C4-BB6D-A4A6C065EEC8}" type="pres">
      <dgm:prSet presAssocID="{29E6D98C-7CD3-4CEA-9EFA-45A1CA2D803A}" presName="rootConnector" presStyleLbl="node2" presStyleIdx="6" presStyleCnt="10"/>
      <dgm:spPr/>
    </dgm:pt>
    <dgm:pt modelId="{DDE22BA7-45D3-4153-9B63-8E4FA95344F2}" type="pres">
      <dgm:prSet presAssocID="{29E6D98C-7CD3-4CEA-9EFA-45A1CA2D803A}" presName="hierChild4" presStyleCnt="0"/>
      <dgm:spPr/>
    </dgm:pt>
    <dgm:pt modelId="{19A0FBA7-678C-4801-A1C8-FDAED942DEEC}" type="pres">
      <dgm:prSet presAssocID="{29E6D98C-7CD3-4CEA-9EFA-45A1CA2D803A}" presName="hierChild5" presStyleCnt="0"/>
      <dgm:spPr/>
    </dgm:pt>
    <dgm:pt modelId="{225835DC-E7D0-4804-AD37-B27C38FB041A}" type="pres">
      <dgm:prSet presAssocID="{3AFB4E32-1F59-4D07-BCF8-91DA61B65CFA}" presName="hierChild3" presStyleCnt="0"/>
      <dgm:spPr/>
    </dgm:pt>
    <dgm:pt modelId="{3E636D31-33E2-4336-8CE8-48CDB8BE4E4D}" type="pres">
      <dgm:prSet presAssocID="{F64980BF-4994-4AE5-B82B-FE016BD703AC}" presName="hierRoot1" presStyleCnt="0">
        <dgm:presLayoutVars>
          <dgm:hierBranch val="init"/>
        </dgm:presLayoutVars>
      </dgm:prSet>
      <dgm:spPr/>
    </dgm:pt>
    <dgm:pt modelId="{E95A3DCB-4E2D-4D79-8531-81198CC3A830}" type="pres">
      <dgm:prSet presAssocID="{F64980BF-4994-4AE5-B82B-FE016BD703AC}" presName="rootComposite1" presStyleCnt="0"/>
      <dgm:spPr/>
    </dgm:pt>
    <dgm:pt modelId="{62A470D0-C165-4541-8F24-C466D65C0EB6}" type="pres">
      <dgm:prSet presAssocID="{F64980BF-4994-4AE5-B82B-FE016BD703AC}" presName="rootText1" presStyleLbl="node0" presStyleIdx="7" presStyleCnt="10" custScaleY="87697" custLinFactNeighborX="-44119" custLinFactNeighborY="32562">
        <dgm:presLayoutVars>
          <dgm:chPref val="3"/>
        </dgm:presLayoutVars>
      </dgm:prSet>
      <dgm:spPr>
        <a:prstGeom prst="roundRect">
          <a:avLst/>
        </a:prstGeom>
      </dgm:spPr>
    </dgm:pt>
    <dgm:pt modelId="{42787AE4-2E94-4013-BB43-547398F8F0CE}" type="pres">
      <dgm:prSet presAssocID="{F64980BF-4994-4AE5-B82B-FE016BD703AC}" presName="rootConnector1" presStyleLbl="node1" presStyleIdx="0" presStyleCnt="0"/>
      <dgm:spPr/>
    </dgm:pt>
    <dgm:pt modelId="{A6C8C666-8442-4A88-ABB2-AFE8B1FAD0DC}" type="pres">
      <dgm:prSet presAssocID="{F64980BF-4994-4AE5-B82B-FE016BD703AC}" presName="hierChild2" presStyleCnt="0"/>
      <dgm:spPr/>
    </dgm:pt>
    <dgm:pt modelId="{38A77848-2E57-4687-A6E6-6C91FAAE6A5E}" type="pres">
      <dgm:prSet presAssocID="{A04CD877-1FBB-46AC-B119-4A1F5F1189AD}" presName="Name64" presStyleLbl="parChTrans1D2" presStyleIdx="7" presStyleCnt="10"/>
      <dgm:spPr/>
    </dgm:pt>
    <dgm:pt modelId="{6E85C9CF-0861-44CD-9DE8-58A371458C38}" type="pres">
      <dgm:prSet presAssocID="{E42E812B-A53E-410B-ACAF-65B89C809D9A}" presName="hierRoot2" presStyleCnt="0">
        <dgm:presLayoutVars>
          <dgm:hierBranch val="init"/>
        </dgm:presLayoutVars>
      </dgm:prSet>
      <dgm:spPr/>
    </dgm:pt>
    <dgm:pt modelId="{46F3797A-E0C5-4AEC-93BF-FA9767EF4119}" type="pres">
      <dgm:prSet presAssocID="{E42E812B-A53E-410B-ACAF-65B89C809D9A}" presName="rootComposite" presStyleCnt="0"/>
      <dgm:spPr/>
    </dgm:pt>
    <dgm:pt modelId="{FF3A130B-52BD-4D32-B131-5AD287958039}" type="pres">
      <dgm:prSet presAssocID="{E42E812B-A53E-410B-ACAF-65B89C809D9A}" presName="rootText" presStyleLbl="node2" presStyleIdx="7" presStyleCnt="10" custScaleY="146837" custLinFactNeighborX="48176" custLinFactNeighborY="32562">
        <dgm:presLayoutVars>
          <dgm:chPref val="3"/>
        </dgm:presLayoutVars>
      </dgm:prSet>
      <dgm:spPr>
        <a:prstGeom prst="ellipse">
          <a:avLst/>
        </a:prstGeom>
      </dgm:spPr>
    </dgm:pt>
    <dgm:pt modelId="{2627D3DD-04F5-42AD-86C4-9401F0F5DBB9}" type="pres">
      <dgm:prSet presAssocID="{E42E812B-A53E-410B-ACAF-65B89C809D9A}" presName="rootConnector" presStyleLbl="node2" presStyleIdx="7" presStyleCnt="10"/>
      <dgm:spPr/>
    </dgm:pt>
    <dgm:pt modelId="{B5906F6A-C862-4C0E-B2AD-B97942DB2557}" type="pres">
      <dgm:prSet presAssocID="{E42E812B-A53E-410B-ACAF-65B89C809D9A}" presName="hierChild4" presStyleCnt="0"/>
      <dgm:spPr/>
    </dgm:pt>
    <dgm:pt modelId="{D2F21566-B71B-4DB4-8B71-6AD821F912EA}" type="pres">
      <dgm:prSet presAssocID="{01D5BAF7-61A6-42DD-9DAF-498F6404018D}" presName="Name64" presStyleLbl="parChTrans1D3" presStyleIdx="3" presStyleCnt="5"/>
      <dgm:spPr/>
    </dgm:pt>
    <dgm:pt modelId="{05C39425-8D13-491D-8F03-97313411EC95}" type="pres">
      <dgm:prSet presAssocID="{659AE9CF-DD53-43E5-9868-97D2ED8D2738}" presName="hierRoot2" presStyleCnt="0">
        <dgm:presLayoutVars>
          <dgm:hierBranch val="init"/>
        </dgm:presLayoutVars>
      </dgm:prSet>
      <dgm:spPr/>
    </dgm:pt>
    <dgm:pt modelId="{A76A0B2E-D644-4786-AA52-2112E0D2F8AC}" type="pres">
      <dgm:prSet presAssocID="{659AE9CF-DD53-43E5-9868-97D2ED8D2738}" presName="rootComposite" presStyleCnt="0"/>
      <dgm:spPr/>
    </dgm:pt>
    <dgm:pt modelId="{099675E6-4990-449E-B27E-40BEA05A83D6}" type="pres">
      <dgm:prSet presAssocID="{659AE9CF-DD53-43E5-9868-97D2ED8D2738}" presName="rootText" presStyleLbl="node3" presStyleIdx="3" presStyleCnt="5" custScaleX="179414" custScaleY="227607" custLinFactX="52444" custLinFactNeighborX="100000" custLinFactNeighborY="-36460">
        <dgm:presLayoutVars>
          <dgm:chPref val="3"/>
        </dgm:presLayoutVars>
      </dgm:prSet>
      <dgm:spPr>
        <a:prstGeom prst="chevron">
          <a:avLst/>
        </a:prstGeom>
      </dgm:spPr>
    </dgm:pt>
    <dgm:pt modelId="{09C3C495-1B83-4181-89F0-E6D3004CEB2F}" type="pres">
      <dgm:prSet presAssocID="{659AE9CF-DD53-43E5-9868-97D2ED8D2738}" presName="rootConnector" presStyleLbl="node3" presStyleIdx="3" presStyleCnt="5"/>
      <dgm:spPr/>
    </dgm:pt>
    <dgm:pt modelId="{D0413F03-A93F-4BB8-9C74-6712ACF2F4D5}" type="pres">
      <dgm:prSet presAssocID="{659AE9CF-DD53-43E5-9868-97D2ED8D2738}" presName="hierChild4" presStyleCnt="0"/>
      <dgm:spPr/>
    </dgm:pt>
    <dgm:pt modelId="{B362C812-ECE4-48B2-BF24-40B9F2BE0354}" type="pres">
      <dgm:prSet presAssocID="{659AE9CF-DD53-43E5-9868-97D2ED8D2738}" presName="hierChild5" presStyleCnt="0"/>
      <dgm:spPr/>
    </dgm:pt>
    <dgm:pt modelId="{C5D3E79A-85EF-47C3-8B87-E7ABF046A42E}" type="pres">
      <dgm:prSet presAssocID="{E42E812B-A53E-410B-ACAF-65B89C809D9A}" presName="hierChild5" presStyleCnt="0"/>
      <dgm:spPr/>
    </dgm:pt>
    <dgm:pt modelId="{620CB1C5-98BD-4E18-8977-4D47B21140C8}" type="pres">
      <dgm:prSet presAssocID="{F64980BF-4994-4AE5-B82B-FE016BD703AC}" presName="hierChild3" presStyleCnt="0"/>
      <dgm:spPr/>
    </dgm:pt>
    <dgm:pt modelId="{C1EE2641-92FB-4FA8-B47E-769338925519}" type="pres">
      <dgm:prSet presAssocID="{807C3541-FEFF-4420-BA78-60ADD6E3C520}" presName="hierRoot1" presStyleCnt="0">
        <dgm:presLayoutVars>
          <dgm:hierBranch val="init"/>
        </dgm:presLayoutVars>
      </dgm:prSet>
      <dgm:spPr/>
    </dgm:pt>
    <dgm:pt modelId="{450D6038-FE0C-4F37-A841-32C5994283D7}" type="pres">
      <dgm:prSet presAssocID="{807C3541-FEFF-4420-BA78-60ADD6E3C520}" presName="rootComposite1" presStyleCnt="0"/>
      <dgm:spPr/>
    </dgm:pt>
    <dgm:pt modelId="{7E49BADF-7699-47C5-82B9-00203BAE3D05}" type="pres">
      <dgm:prSet presAssocID="{807C3541-FEFF-4420-BA78-60ADD6E3C520}" presName="rootText1" presStyleLbl="node0" presStyleIdx="8" presStyleCnt="10" custScaleY="87697" custLinFactNeighborX="-44119" custLinFactNeighborY="25637">
        <dgm:presLayoutVars>
          <dgm:chPref val="3"/>
        </dgm:presLayoutVars>
      </dgm:prSet>
      <dgm:spPr>
        <a:prstGeom prst="roundRect">
          <a:avLst/>
        </a:prstGeom>
      </dgm:spPr>
    </dgm:pt>
    <dgm:pt modelId="{099A95EB-AB3B-4D2F-914C-1F080595884C}" type="pres">
      <dgm:prSet presAssocID="{807C3541-FEFF-4420-BA78-60ADD6E3C520}" presName="rootConnector1" presStyleLbl="node1" presStyleIdx="0" presStyleCnt="0"/>
      <dgm:spPr/>
    </dgm:pt>
    <dgm:pt modelId="{594EBDD6-86A7-40C3-9DAD-446448BE4079}" type="pres">
      <dgm:prSet presAssocID="{807C3541-FEFF-4420-BA78-60ADD6E3C520}" presName="hierChild2" presStyleCnt="0"/>
      <dgm:spPr/>
    </dgm:pt>
    <dgm:pt modelId="{3C1A2501-9F7B-4F3E-A068-160271F1438C}" type="pres">
      <dgm:prSet presAssocID="{568A67E8-8B88-4F43-BA34-F10135585D2B}" presName="Name64" presStyleLbl="parChTrans1D2" presStyleIdx="8" presStyleCnt="10"/>
      <dgm:spPr/>
    </dgm:pt>
    <dgm:pt modelId="{327DE797-4EA0-41E1-86CA-767F9898635F}" type="pres">
      <dgm:prSet presAssocID="{3198FF5D-F14A-4BEE-8017-5953967D90B8}" presName="hierRoot2" presStyleCnt="0">
        <dgm:presLayoutVars>
          <dgm:hierBranch val="init"/>
        </dgm:presLayoutVars>
      </dgm:prSet>
      <dgm:spPr/>
    </dgm:pt>
    <dgm:pt modelId="{3F45AD17-0C92-473F-A804-3945C4F06565}" type="pres">
      <dgm:prSet presAssocID="{3198FF5D-F14A-4BEE-8017-5953967D90B8}" presName="rootComposite" presStyleCnt="0"/>
      <dgm:spPr/>
    </dgm:pt>
    <dgm:pt modelId="{C59D1964-10A1-4939-9773-3412B26227FF}" type="pres">
      <dgm:prSet presAssocID="{3198FF5D-F14A-4BEE-8017-5953967D90B8}" presName="rootText" presStyleLbl="node2" presStyleIdx="8" presStyleCnt="10" custScaleY="146837" custLinFactNeighborX="48176" custLinFactNeighborY="25637">
        <dgm:presLayoutVars>
          <dgm:chPref val="3"/>
        </dgm:presLayoutVars>
      </dgm:prSet>
      <dgm:spPr>
        <a:prstGeom prst="rect">
          <a:avLst/>
        </a:prstGeom>
      </dgm:spPr>
    </dgm:pt>
    <dgm:pt modelId="{CA7DB183-51F4-4ACD-9E08-183539A19133}" type="pres">
      <dgm:prSet presAssocID="{3198FF5D-F14A-4BEE-8017-5953967D90B8}" presName="rootConnector" presStyleLbl="node2" presStyleIdx="8" presStyleCnt="10"/>
      <dgm:spPr/>
    </dgm:pt>
    <dgm:pt modelId="{78EF0278-6E18-4943-8E3B-E3820562FE4A}" type="pres">
      <dgm:prSet presAssocID="{3198FF5D-F14A-4BEE-8017-5953967D90B8}" presName="hierChild4" presStyleCnt="0"/>
      <dgm:spPr/>
    </dgm:pt>
    <dgm:pt modelId="{7B81495F-33BB-448D-B55F-1F3EA6A5E543}" type="pres">
      <dgm:prSet presAssocID="{AA1F1399-24DD-429F-A4BB-7911C2B8BFFA}" presName="Name64" presStyleLbl="parChTrans1D3" presStyleIdx="4" presStyleCnt="5"/>
      <dgm:spPr/>
    </dgm:pt>
    <dgm:pt modelId="{B867FB84-EC51-4091-B95D-402717C24D78}" type="pres">
      <dgm:prSet presAssocID="{8F0F0D30-959A-4B9D-B564-38D42E50F4A6}" presName="hierRoot2" presStyleCnt="0">
        <dgm:presLayoutVars>
          <dgm:hierBranch val="init"/>
        </dgm:presLayoutVars>
      </dgm:prSet>
      <dgm:spPr/>
    </dgm:pt>
    <dgm:pt modelId="{0BD9BE88-FBB1-4E2B-B3F7-97A38595923A}" type="pres">
      <dgm:prSet presAssocID="{8F0F0D30-959A-4B9D-B564-38D42E50F4A6}" presName="rootComposite" presStyleCnt="0"/>
      <dgm:spPr/>
    </dgm:pt>
    <dgm:pt modelId="{AB977356-973A-4AF3-B9BD-6DE402EA5DD9}" type="pres">
      <dgm:prSet presAssocID="{8F0F0D30-959A-4B9D-B564-38D42E50F4A6}" presName="rootText" presStyleLbl="node3" presStyleIdx="4" presStyleCnt="5" custScaleX="179414" custScaleY="227607" custLinFactX="52444" custLinFactNeighborX="100000" custLinFactNeighborY="94185">
        <dgm:presLayoutVars>
          <dgm:chPref val="3"/>
        </dgm:presLayoutVars>
      </dgm:prSet>
      <dgm:spPr>
        <a:prstGeom prst="flowChartDisplay">
          <a:avLst/>
        </a:prstGeom>
      </dgm:spPr>
    </dgm:pt>
    <dgm:pt modelId="{76E5045E-C576-415E-93AD-F4CB348B9F01}" type="pres">
      <dgm:prSet presAssocID="{8F0F0D30-959A-4B9D-B564-38D42E50F4A6}" presName="rootConnector" presStyleLbl="node3" presStyleIdx="4" presStyleCnt="5"/>
      <dgm:spPr/>
    </dgm:pt>
    <dgm:pt modelId="{1DB7379D-228B-401B-B249-F2915A61F08B}" type="pres">
      <dgm:prSet presAssocID="{8F0F0D30-959A-4B9D-B564-38D42E50F4A6}" presName="hierChild4" presStyleCnt="0"/>
      <dgm:spPr/>
    </dgm:pt>
    <dgm:pt modelId="{7B2B698A-55F0-4A39-BD85-C229B72EF1F8}" type="pres">
      <dgm:prSet presAssocID="{8F0F0D30-959A-4B9D-B564-38D42E50F4A6}" presName="hierChild5" presStyleCnt="0"/>
      <dgm:spPr/>
    </dgm:pt>
    <dgm:pt modelId="{343A1E0F-0C1C-42F1-AAD3-8EF1FD3F0566}" type="pres">
      <dgm:prSet presAssocID="{3198FF5D-F14A-4BEE-8017-5953967D90B8}" presName="hierChild5" presStyleCnt="0"/>
      <dgm:spPr/>
    </dgm:pt>
    <dgm:pt modelId="{909D3183-362D-43FC-A432-4A299E00592D}" type="pres">
      <dgm:prSet presAssocID="{807C3541-FEFF-4420-BA78-60ADD6E3C520}" presName="hierChild3" presStyleCnt="0"/>
      <dgm:spPr/>
    </dgm:pt>
    <dgm:pt modelId="{C8A5F0C9-5C59-486F-8F5F-8553061CAD05}" type="pres">
      <dgm:prSet presAssocID="{F19EAA58-7A66-455C-95C0-0562B3DE911B}" presName="hierRoot1" presStyleCnt="0">
        <dgm:presLayoutVars>
          <dgm:hierBranch val="init"/>
        </dgm:presLayoutVars>
      </dgm:prSet>
      <dgm:spPr/>
    </dgm:pt>
    <dgm:pt modelId="{2F67D61B-70C4-44EB-AC51-65FB2B8BDB7F}" type="pres">
      <dgm:prSet presAssocID="{F19EAA58-7A66-455C-95C0-0562B3DE911B}" presName="rootComposite1" presStyleCnt="0"/>
      <dgm:spPr/>
    </dgm:pt>
    <dgm:pt modelId="{55C73A3A-F559-4CFF-B10F-92972CF5F897}" type="pres">
      <dgm:prSet presAssocID="{F19EAA58-7A66-455C-95C0-0562B3DE911B}" presName="rootText1" presStyleLbl="node0" presStyleIdx="9" presStyleCnt="10" custScaleY="87697" custLinFactNeighborX="-44119" custLinFactNeighborY="-42581">
        <dgm:presLayoutVars>
          <dgm:chPref val="3"/>
        </dgm:presLayoutVars>
      </dgm:prSet>
      <dgm:spPr>
        <a:prstGeom prst="roundRect">
          <a:avLst/>
        </a:prstGeom>
      </dgm:spPr>
    </dgm:pt>
    <dgm:pt modelId="{49DB96F7-9AE4-49FD-87C9-C40259A96E40}" type="pres">
      <dgm:prSet presAssocID="{F19EAA58-7A66-455C-95C0-0562B3DE911B}" presName="rootConnector1" presStyleLbl="node1" presStyleIdx="0" presStyleCnt="0"/>
      <dgm:spPr/>
    </dgm:pt>
    <dgm:pt modelId="{34389A6C-1EF5-4545-9455-0B105087F315}" type="pres">
      <dgm:prSet presAssocID="{F19EAA58-7A66-455C-95C0-0562B3DE911B}" presName="hierChild2" presStyleCnt="0"/>
      <dgm:spPr/>
    </dgm:pt>
    <dgm:pt modelId="{6B3A0DF8-B189-4EDA-928D-B026171DAD90}" type="pres">
      <dgm:prSet presAssocID="{6A54F4F7-F7B2-4ABF-9F73-FF9540FF4C80}" presName="Name64" presStyleLbl="parChTrans1D2" presStyleIdx="9" presStyleCnt="10"/>
      <dgm:spPr/>
    </dgm:pt>
    <dgm:pt modelId="{89732662-3B2A-489A-B02B-FCD4DEA439E2}" type="pres">
      <dgm:prSet presAssocID="{D8A68DFF-3DE5-415D-BA59-2010C696728C}" presName="hierRoot2" presStyleCnt="0">
        <dgm:presLayoutVars>
          <dgm:hierBranch val="init"/>
        </dgm:presLayoutVars>
      </dgm:prSet>
      <dgm:spPr/>
    </dgm:pt>
    <dgm:pt modelId="{140DEE5E-4662-4359-9234-EDFD3DCB0F22}" type="pres">
      <dgm:prSet presAssocID="{D8A68DFF-3DE5-415D-BA59-2010C696728C}" presName="rootComposite" presStyleCnt="0"/>
      <dgm:spPr/>
    </dgm:pt>
    <dgm:pt modelId="{5BF27B3F-FE56-482B-A094-9C17F8FB509D}" type="pres">
      <dgm:prSet presAssocID="{D8A68DFF-3DE5-415D-BA59-2010C696728C}" presName="rootText" presStyleLbl="node2" presStyleIdx="9" presStyleCnt="10" custScaleY="146837" custLinFactNeighborX="48176" custLinFactNeighborY="-42581">
        <dgm:presLayoutVars>
          <dgm:chPref val="3"/>
        </dgm:presLayoutVars>
      </dgm:prSet>
      <dgm:spPr>
        <a:prstGeom prst="ellipse">
          <a:avLst/>
        </a:prstGeom>
      </dgm:spPr>
    </dgm:pt>
    <dgm:pt modelId="{B8929FA0-BEFA-4848-9504-7E7AAEB252D6}" type="pres">
      <dgm:prSet presAssocID="{D8A68DFF-3DE5-415D-BA59-2010C696728C}" presName="rootConnector" presStyleLbl="node2" presStyleIdx="9" presStyleCnt="10"/>
      <dgm:spPr/>
    </dgm:pt>
    <dgm:pt modelId="{17C4491F-FDEB-4F3B-AE4F-C26235B7C948}" type="pres">
      <dgm:prSet presAssocID="{D8A68DFF-3DE5-415D-BA59-2010C696728C}" presName="hierChild4" presStyleCnt="0"/>
      <dgm:spPr/>
    </dgm:pt>
    <dgm:pt modelId="{7A97E6B7-C977-4882-A72D-DE86A9550DE1}" type="pres">
      <dgm:prSet presAssocID="{D8A68DFF-3DE5-415D-BA59-2010C696728C}" presName="hierChild5" presStyleCnt="0"/>
      <dgm:spPr/>
    </dgm:pt>
    <dgm:pt modelId="{94EDDE7F-9969-4222-AA2E-4F6D07FF390D}" type="pres">
      <dgm:prSet presAssocID="{F19EAA58-7A66-455C-95C0-0562B3DE911B}" presName="hierChild3" presStyleCnt="0"/>
      <dgm:spPr/>
    </dgm:pt>
  </dgm:ptLst>
  <dgm:cxnLst>
    <dgm:cxn modelId="{C4204900-369F-46D5-AE2F-92C55963D963}" type="presOf" srcId="{8F0F0D30-959A-4B9D-B564-38D42E50F4A6}" destId="{76E5045E-C576-415E-93AD-F4CB348B9F01}" srcOrd="1" destOrd="0" presId="urn:microsoft.com/office/officeart/2009/3/layout/HorizontalOrganizationChart"/>
    <dgm:cxn modelId="{221CBE07-E52A-46C1-A4B5-DB154CAACF43}" type="presOf" srcId="{D8A68DFF-3DE5-415D-BA59-2010C696728C}" destId="{B8929FA0-BEFA-4848-9504-7E7AAEB252D6}" srcOrd="1" destOrd="0" presId="urn:microsoft.com/office/officeart/2009/3/layout/HorizontalOrganizationChart"/>
    <dgm:cxn modelId="{3D518F08-8259-4548-9F68-21A2941D5382}" type="presOf" srcId="{F64980BF-4994-4AE5-B82B-FE016BD703AC}" destId="{42787AE4-2E94-4013-BB43-547398F8F0CE}" srcOrd="1" destOrd="0" presId="urn:microsoft.com/office/officeart/2009/3/layout/HorizontalOrganizationChart"/>
    <dgm:cxn modelId="{AD792D0A-AC54-4EA8-8230-D993CD1D974B}" type="presOf" srcId="{3AFB4E32-1F59-4D07-BCF8-91DA61B65CFA}" destId="{E20FA9AC-5869-494E-B466-F33A9C4E61CA}" srcOrd="0" destOrd="0" presId="urn:microsoft.com/office/officeart/2009/3/layout/HorizontalOrganizationChart"/>
    <dgm:cxn modelId="{662DBD0A-8B5E-429E-9CFE-18BE402E797F}" srcId="{DD0D810A-461B-43AB-9074-9E97C0408D20}" destId="{807C3541-FEFF-4420-BA78-60ADD6E3C520}" srcOrd="8" destOrd="0" parTransId="{68039E19-AE1C-4E5A-AEFE-CC2A1BE25DBA}" sibTransId="{2FAE573F-C835-4FE7-8D68-DD646A3E3752}"/>
    <dgm:cxn modelId="{3F98450E-CE74-402F-B147-B71B24C6FB18}" srcId="{0602ED7E-9C90-492C-B953-EE44638FBB95}" destId="{AD6FBD3B-8A7D-4317-BB75-D2A9592FB8BE}" srcOrd="0" destOrd="0" parTransId="{1DF9E748-BE9E-4485-997D-1484062506CD}" sibTransId="{791C9EC4-B42B-4F06-BD72-5A1377A347A4}"/>
    <dgm:cxn modelId="{18F4E40F-81EF-445D-95FE-F695E38058D3}" type="presOf" srcId="{1DF9E748-BE9E-4485-997D-1484062506CD}" destId="{88CBFC17-B32F-40BB-A01F-845BE2F3B3D2}" srcOrd="0" destOrd="0" presId="urn:microsoft.com/office/officeart/2009/3/layout/HorizontalOrganizationChart"/>
    <dgm:cxn modelId="{A464C615-08A4-4308-9D31-176CD272EFC4}" srcId="{6C071D51-77B8-4EFD-9FB6-FCEF2ADC1246}" destId="{0602ED7E-9C90-492C-B953-EE44638FBB95}" srcOrd="0" destOrd="0" parTransId="{E5F8A749-E885-42C9-B9EE-5E6294529BB1}" sibTransId="{8CBAE86F-2481-427D-A7BB-5410C2C474AF}"/>
    <dgm:cxn modelId="{9B9C1116-438E-4B99-9D63-3292E55C22C4}" type="presOf" srcId="{95C081EA-E623-4650-8D9D-F9DDE315F8E5}" destId="{0EE0040A-1396-415B-8C01-1232BE958866}" srcOrd="0" destOrd="0" presId="urn:microsoft.com/office/officeart/2009/3/layout/HorizontalOrganizationChart"/>
    <dgm:cxn modelId="{D35A7518-0072-4221-9867-FBFE00A0D2B6}" srcId="{DD0D810A-461B-43AB-9074-9E97C0408D20}" destId="{374E3B40-BBBE-480A-AFB4-88D490633E79}" srcOrd="2" destOrd="0" parTransId="{7CD24F9D-E1BB-408F-AAA9-2DE54AABDB4B}" sibTransId="{3C2134FB-03F5-408F-A3E8-366E7D03A159}"/>
    <dgm:cxn modelId="{F04B591A-EE28-41BE-972E-8FCBA05EBF3E}" srcId="{F64980BF-4994-4AE5-B82B-FE016BD703AC}" destId="{E42E812B-A53E-410B-ACAF-65B89C809D9A}" srcOrd="0" destOrd="0" parTransId="{A04CD877-1FBB-46AC-B119-4A1F5F1189AD}" sibTransId="{AC2340BA-0A3A-4980-97F2-6249438EB5BA}"/>
    <dgm:cxn modelId="{44763D1E-6583-4E12-BC3A-F5429D61CC5A}" type="presOf" srcId="{3198FF5D-F14A-4BEE-8017-5953967D90B8}" destId="{CA7DB183-51F4-4ACD-9E08-183539A19133}" srcOrd="1" destOrd="0" presId="urn:microsoft.com/office/officeart/2009/3/layout/HorizontalOrganizationChart"/>
    <dgm:cxn modelId="{B61BF421-D42C-4B7C-B973-348B8BE3B169}" type="presOf" srcId="{29E6D98C-7CD3-4CEA-9EFA-45A1CA2D803A}" destId="{BD66ED11-FD0D-44C4-BB6D-A4A6C065EEC8}" srcOrd="1" destOrd="0" presId="urn:microsoft.com/office/officeart/2009/3/layout/HorizontalOrganizationChart"/>
    <dgm:cxn modelId="{1C12A122-A2F0-4BCB-8635-737BE8E4AF96}" type="presOf" srcId="{4E5FFA0C-6510-4201-A7B1-ABD5AEF2D97A}" destId="{6F1015F1-923E-445D-9DC0-CC0AADDA21B0}" srcOrd="1" destOrd="0" presId="urn:microsoft.com/office/officeart/2009/3/layout/HorizontalOrganizationChart"/>
    <dgm:cxn modelId="{D66B2423-EA40-4AD3-8D39-8A788F41731C}" srcId="{DD0D810A-461B-43AB-9074-9E97C0408D20}" destId="{A0160691-C5F9-44B8-9B17-16C16C30252D}" srcOrd="1" destOrd="0" parTransId="{7C1C211D-DF08-4FA2-A593-3F78C8D74D1E}" sibTransId="{7CA754DD-BCA3-484D-948A-4898820E12A5}"/>
    <dgm:cxn modelId="{CFC45926-4BAD-4D23-AAE7-D1D403B20237}" type="presOf" srcId="{DEC05715-FEDF-4412-9AD5-B59AB6420D07}" destId="{84F78CD9-9F9D-4D64-A026-AF50DDC2F137}" srcOrd="0" destOrd="0" presId="urn:microsoft.com/office/officeart/2009/3/layout/HorizontalOrganizationChart"/>
    <dgm:cxn modelId="{D3A2E22A-915E-439D-9DBE-B4D6BF15E285}" srcId="{DD0D810A-461B-43AB-9074-9E97C0408D20}" destId="{FD1DBDAA-A001-4591-8DE7-1CF832D5998F}" srcOrd="5" destOrd="0" parTransId="{455A81A8-DB9B-495F-A246-9BBAD335F952}" sibTransId="{B88F5D7E-1B87-474F-BD16-1E52448760E8}"/>
    <dgm:cxn modelId="{0393CB2B-2930-44E4-93AE-941D72D857B6}" srcId="{DD0D810A-461B-43AB-9074-9E97C0408D20}" destId="{F19EAA58-7A66-455C-95C0-0562B3DE911B}" srcOrd="9" destOrd="0" parTransId="{DB3E4C0E-AB25-4AE2-8D39-61BB991A52A7}" sibTransId="{A5E45FA0-09FF-44DE-B7DF-EE2379CEAC16}"/>
    <dgm:cxn modelId="{75A1B42D-6F18-41C8-929F-C41B12518E7B}" type="presOf" srcId="{D54A7B4A-DF66-40C0-906F-D4D32F04FB90}" destId="{1E5E492B-8977-4BF8-9DC9-D4782DC096AF}" srcOrd="0" destOrd="0" presId="urn:microsoft.com/office/officeart/2009/3/layout/HorizontalOrganizationChart"/>
    <dgm:cxn modelId="{F7A9C92E-603B-4297-B0AF-99C110E88282}" type="presOf" srcId="{6A54F4F7-F7B2-4ABF-9F73-FF9540FF4C80}" destId="{6B3A0DF8-B189-4EDA-928D-B026171DAD90}" srcOrd="0" destOrd="0" presId="urn:microsoft.com/office/officeart/2009/3/layout/HorizontalOrganizationChart"/>
    <dgm:cxn modelId="{75FB2F2F-1EFF-41B9-8DCC-9CA25A998F9C}" type="presOf" srcId="{3198FF5D-F14A-4BEE-8017-5953967D90B8}" destId="{C59D1964-10A1-4939-9773-3412B26227FF}" srcOrd="0" destOrd="0" presId="urn:microsoft.com/office/officeart/2009/3/layout/HorizontalOrganizationChart"/>
    <dgm:cxn modelId="{BAB99931-6896-4E03-BD2B-E95B3D68EBD7}" type="presOf" srcId="{4E5FFA0C-6510-4201-A7B1-ABD5AEF2D97A}" destId="{20E39DE7-734B-43EE-83E1-5DA2E5DB6F29}" srcOrd="0" destOrd="0" presId="urn:microsoft.com/office/officeart/2009/3/layout/HorizontalOrganizationChart"/>
    <dgm:cxn modelId="{E45D3A35-46D8-4DD2-9052-1A545F3630BD}" type="presOf" srcId="{D7AD2902-6F37-4EB6-B6EC-C1349D73C805}" destId="{25C2574F-6633-42E9-9DE8-5FC0DBDAE680}" srcOrd="0" destOrd="0" presId="urn:microsoft.com/office/officeart/2009/3/layout/HorizontalOrganizationChart"/>
    <dgm:cxn modelId="{2DA14E37-45A4-4667-B3E5-F565AF527263}" type="presOf" srcId="{D8A68DFF-3DE5-415D-BA59-2010C696728C}" destId="{5BF27B3F-FE56-482B-A094-9C17F8FB509D}" srcOrd="0" destOrd="0" presId="urn:microsoft.com/office/officeart/2009/3/layout/HorizontalOrganizationChart"/>
    <dgm:cxn modelId="{7EE7FB37-3ED4-46F3-8F0B-6CD6231094CE}" type="presOf" srcId="{85023C2C-452D-4AC9-A6FA-0F9D7138C59C}" destId="{CFC18B94-4FBA-47CD-ABD6-749462FCC69A}" srcOrd="1" destOrd="0" presId="urn:microsoft.com/office/officeart/2009/3/layout/HorizontalOrganizationChart"/>
    <dgm:cxn modelId="{C9849838-12A6-45D2-BA38-56E5532AE5C2}" srcId="{3198FF5D-F14A-4BEE-8017-5953967D90B8}" destId="{8F0F0D30-959A-4B9D-B564-38D42E50F4A6}" srcOrd="0" destOrd="0" parTransId="{AA1F1399-24DD-429F-A4BB-7911C2B8BFFA}" sibTransId="{0C815E20-8AF4-42B1-A7EB-3FE60654EA32}"/>
    <dgm:cxn modelId="{19749E38-4F83-4A76-9BFF-AA20357DB6EA}" type="presOf" srcId="{FD1DBDAA-A001-4591-8DE7-1CF832D5998F}" destId="{1493CCFF-D6F7-4055-977E-E02F35F1D3DE}" srcOrd="0" destOrd="0" presId="urn:microsoft.com/office/officeart/2009/3/layout/HorizontalOrganizationChart"/>
    <dgm:cxn modelId="{8E696739-4710-409E-9F6A-6415847D2AA7}" srcId="{FD1DBDAA-A001-4591-8DE7-1CF832D5998F}" destId="{D54A7B4A-DF66-40C0-906F-D4D32F04FB90}" srcOrd="0" destOrd="0" parTransId="{D7AD2902-6F37-4EB6-B6EC-C1349D73C805}" sibTransId="{7D804DBF-C5C2-48B4-A128-81D9E02AE9AB}"/>
    <dgm:cxn modelId="{ACEB683B-FC52-4AB6-8E02-C021CDB00E93}" srcId="{807C3541-FEFF-4420-BA78-60ADD6E3C520}" destId="{3198FF5D-F14A-4BEE-8017-5953967D90B8}" srcOrd="0" destOrd="0" parTransId="{568A67E8-8B88-4F43-BA34-F10135585D2B}" sibTransId="{CC428D1D-7EC0-4636-B64E-74D254EBF2E5}"/>
    <dgm:cxn modelId="{D8B2D140-6038-4E52-BE6E-6B1FA27D2A19}" type="presOf" srcId="{181337CE-57D4-4E7A-A05B-60A37E2377AA}" destId="{07A69A87-9540-482A-9996-68EA3C7E714E}" srcOrd="1" destOrd="0" presId="urn:microsoft.com/office/officeart/2009/3/layout/HorizontalOrganizationChart"/>
    <dgm:cxn modelId="{8AA3D95F-96DB-4625-BB29-7F3037CAFCAA}" type="presOf" srcId="{659AE9CF-DD53-43E5-9868-97D2ED8D2738}" destId="{099675E6-4990-449E-B27E-40BEA05A83D6}" srcOrd="0" destOrd="0" presId="urn:microsoft.com/office/officeart/2009/3/layout/HorizontalOrganizationChart"/>
    <dgm:cxn modelId="{AD221762-FEC3-42B1-AA40-B62CB623BEA2}" type="presOf" srcId="{0602ED7E-9C90-492C-B953-EE44638FBB95}" destId="{791FDAA3-E3B9-44A0-A506-C5A7896959A9}" srcOrd="1" destOrd="0" presId="urn:microsoft.com/office/officeart/2009/3/layout/HorizontalOrganizationChart"/>
    <dgm:cxn modelId="{6E14AE62-6F60-461C-AB5B-279628139D97}" type="presOf" srcId="{08EED27D-B691-455A-8D11-8D4400592106}" destId="{34623623-3BE4-45CF-BD25-CAAB9AF090E9}" srcOrd="1" destOrd="0" presId="urn:microsoft.com/office/officeart/2009/3/layout/HorizontalOrganizationChart"/>
    <dgm:cxn modelId="{34310F64-4E48-4308-BE51-BFDDCE09909A}" srcId="{85023C2C-452D-4AC9-A6FA-0F9D7138C59C}" destId="{4E5FFA0C-6510-4201-A7B1-ABD5AEF2D97A}" srcOrd="0" destOrd="0" parTransId="{BC42BC40-0016-4436-879E-4DDC17E681D8}" sibTransId="{012D8BD1-3B16-42B8-AD19-91B1BF069CC4}"/>
    <dgm:cxn modelId="{3C8CAA45-248A-4ADF-93F8-F4CA8D96E11D}" srcId="{F19EAA58-7A66-455C-95C0-0562B3DE911B}" destId="{D8A68DFF-3DE5-415D-BA59-2010C696728C}" srcOrd="0" destOrd="0" parTransId="{6A54F4F7-F7B2-4ABF-9F73-FF9540FF4C80}" sibTransId="{6C1BC2E9-4C37-410D-85D5-5F7E77A32D3C}"/>
    <dgm:cxn modelId="{86952E46-0EDD-4B34-89C1-2F142FCC879F}" type="presOf" srcId="{E42E812B-A53E-410B-ACAF-65B89C809D9A}" destId="{FF3A130B-52BD-4D32-B131-5AD287958039}" srcOrd="0" destOrd="0" presId="urn:microsoft.com/office/officeart/2009/3/layout/HorizontalOrganizationChart"/>
    <dgm:cxn modelId="{37262148-BB0F-4AAE-93EB-D71C43F7ABA1}" srcId="{374E3B40-BBBE-480A-AFB4-88D490633E79}" destId="{EF3D876D-3EE3-4D07-AAFA-45A65E67153D}" srcOrd="0" destOrd="0" parTransId="{6E609385-C993-4BC2-9C17-F960FE135F9E}" sibTransId="{4FECF614-695B-4D39-A080-4F84C9ACE92B}"/>
    <dgm:cxn modelId="{69A34848-865B-4BDF-AF5D-96867E905EF1}" type="presOf" srcId="{F64980BF-4994-4AE5-B82B-FE016BD703AC}" destId="{62A470D0-C165-4541-8F24-C466D65C0EB6}" srcOrd="0" destOrd="0" presId="urn:microsoft.com/office/officeart/2009/3/layout/HorizontalOrganizationChart"/>
    <dgm:cxn modelId="{E671B84A-7D56-4281-B7F9-D70EC1481E81}" type="presOf" srcId="{5CC210C8-5E6E-48F0-8FD0-6A866839FB6B}" destId="{61996124-B121-4C46-839E-B33748350A1C}" srcOrd="1" destOrd="0" presId="urn:microsoft.com/office/officeart/2009/3/layout/HorizontalOrganizationChart"/>
    <dgm:cxn modelId="{331DF06B-128A-4D27-962E-0541F6AAB71A}" type="presOf" srcId="{E5F8A749-E885-42C9-B9EE-5E6294529BB1}" destId="{F580550D-7334-4B9E-95B2-51BB673FC8D1}" srcOrd="0" destOrd="0" presId="urn:microsoft.com/office/officeart/2009/3/layout/HorizontalOrganizationChart"/>
    <dgm:cxn modelId="{9A5E634C-7DC6-4354-A4B9-A905149FE150}" type="presOf" srcId="{AD6FBD3B-8A7D-4317-BB75-D2A9592FB8BE}" destId="{B807D448-C164-41F3-952C-4662C5DAB639}" srcOrd="1" destOrd="0" presId="urn:microsoft.com/office/officeart/2009/3/layout/HorizontalOrganizationChart"/>
    <dgm:cxn modelId="{F640004D-0BB5-4E4B-BF35-3F18E7604D24}" type="presOf" srcId="{A0160691-C5F9-44B8-9B17-16C16C30252D}" destId="{EBCCF8B9-6E13-4F0A-BE2A-F8631A1C1FC2}" srcOrd="0" destOrd="0" presId="urn:microsoft.com/office/officeart/2009/3/layout/HorizontalOrganizationChart"/>
    <dgm:cxn modelId="{10BF474D-37BF-495B-AD82-098C21CA7B87}" type="presOf" srcId="{3935ABD3-BCEB-4366-8068-AF4AC2EC6F86}" destId="{E5C0F204-0BA5-475D-BA78-58C4F5296014}" srcOrd="0" destOrd="0" presId="urn:microsoft.com/office/officeart/2009/3/layout/HorizontalOrganizationChart"/>
    <dgm:cxn modelId="{B6B36B6E-5563-4179-9E51-04A9B07FC81B}" type="presOf" srcId="{DD0D810A-461B-43AB-9074-9E97C0408D20}" destId="{5AF7821A-E4E4-49F2-8CDD-D8E21E18D6E7}" srcOrd="0" destOrd="0" presId="urn:microsoft.com/office/officeart/2009/3/layout/HorizontalOrganizationChart"/>
    <dgm:cxn modelId="{A35B6670-7D21-4A33-AEA5-2EB52FD1E0D4}" type="presOf" srcId="{F777E9C7-1812-46A8-9B44-36F638B989E3}" destId="{138DA514-4305-4324-9DD8-A4E5D22470C0}" srcOrd="0" destOrd="0" presId="urn:microsoft.com/office/officeart/2009/3/layout/HorizontalOrganizationChart"/>
    <dgm:cxn modelId="{37AE8771-7582-4292-8ED0-8CEEAF68A0DC}" type="presOf" srcId="{807C3541-FEFF-4420-BA78-60ADD6E3C520}" destId="{7E49BADF-7699-47C5-82B9-00203BAE3D05}" srcOrd="0" destOrd="0" presId="urn:microsoft.com/office/officeart/2009/3/layout/HorizontalOrganizationChart"/>
    <dgm:cxn modelId="{AA469C77-C8BF-421F-87E4-9F682CD426A8}" type="presOf" srcId="{5CC210C8-5E6E-48F0-8FD0-6A866839FB6B}" destId="{819DBB63-9FFA-4E43-A6FD-4C64089534ED}" srcOrd="0" destOrd="0" presId="urn:microsoft.com/office/officeart/2009/3/layout/HorizontalOrganizationChart"/>
    <dgm:cxn modelId="{8FECE778-7ED0-4D5D-B036-6D0053E81FD4}" type="presOf" srcId="{08EED27D-B691-455A-8D11-8D4400592106}" destId="{CA82278E-F451-4EA7-A79E-93E1B57BBB1F}" srcOrd="0" destOrd="0" presId="urn:microsoft.com/office/officeart/2009/3/layout/HorizontalOrganizationChart"/>
    <dgm:cxn modelId="{1F135081-99B2-499E-AF49-E1B383697C50}" srcId="{25689892-4E7D-40AA-A673-4C1F0CF0FA5A}" destId="{95C081EA-E623-4650-8D9D-F9DDE315F8E5}" srcOrd="0" destOrd="0" parTransId="{B56C1068-89F2-4261-94F2-98377A59CF83}" sibTransId="{0854C3F3-3B12-44C3-A3C2-FF2A3971B0EA}"/>
    <dgm:cxn modelId="{9BD75281-800C-4F60-A841-1E88AB09A223}" type="presOf" srcId="{374E3B40-BBBE-480A-AFB4-88D490633E79}" destId="{9FC8182C-B293-4C29-819C-5B43DEE42D86}" srcOrd="0" destOrd="0" presId="urn:microsoft.com/office/officeart/2009/3/layout/HorizontalOrganizationChart"/>
    <dgm:cxn modelId="{58FA8384-E238-4051-B8F8-74464017B580}" type="presOf" srcId="{3AFB4E32-1F59-4D07-BCF8-91DA61B65CFA}" destId="{901DDE90-9F46-4960-83B6-2953376473B2}" srcOrd="1" destOrd="0" presId="urn:microsoft.com/office/officeart/2009/3/layout/HorizontalOrganizationChart"/>
    <dgm:cxn modelId="{34485087-B5E1-4C7C-A12D-6E4193B5890D}" srcId="{A0160691-C5F9-44B8-9B17-16C16C30252D}" destId="{181337CE-57D4-4E7A-A05B-60A37E2377AA}" srcOrd="0" destOrd="0" parTransId="{3935ABD3-BCEB-4366-8068-AF4AC2EC6F86}" sibTransId="{DD97806B-124E-472F-8B3E-E5D1562EC24B}"/>
    <dgm:cxn modelId="{A1D3D487-6284-42A5-BD9A-173CE5CCC61B}" srcId="{3AFB4E32-1F59-4D07-BCF8-91DA61B65CFA}" destId="{29E6D98C-7CD3-4CEA-9EFA-45A1CA2D803A}" srcOrd="0" destOrd="0" parTransId="{DEC05715-FEDF-4412-9AD5-B59AB6420D07}" sibTransId="{AFD93C40-7DEA-4C8D-96E6-A850EDB6579A}"/>
    <dgm:cxn modelId="{04E24E89-3AE9-42D6-8898-6A1F1EFA05A2}" type="presOf" srcId="{F19EAA58-7A66-455C-95C0-0562B3DE911B}" destId="{49DB96F7-9AE4-49FD-87C9-C40259A96E40}" srcOrd="1" destOrd="0" presId="urn:microsoft.com/office/officeart/2009/3/layout/HorizontalOrganizationChart"/>
    <dgm:cxn modelId="{E0B9178B-13FD-411D-A3C1-B338F7989461}" srcId="{DD0D810A-461B-43AB-9074-9E97C0408D20}" destId="{F64980BF-4994-4AE5-B82B-FE016BD703AC}" srcOrd="7" destOrd="0" parTransId="{2EEE1247-63DA-44B4-92C6-8C1C591F1E70}" sibTransId="{1E425069-9ECA-439D-B69A-AA27C7DAC8D6}"/>
    <dgm:cxn modelId="{1A807C8C-00FD-4406-8170-1A455E33A36A}" type="presOf" srcId="{F19EAA58-7A66-455C-95C0-0562B3DE911B}" destId="{55C73A3A-F559-4CFF-B10F-92972CF5F897}" srcOrd="0" destOrd="0" presId="urn:microsoft.com/office/officeart/2009/3/layout/HorizontalOrganizationChart"/>
    <dgm:cxn modelId="{775A9490-6B4A-4792-A3ED-9B31086BEAE4}" type="presOf" srcId="{6E609385-C993-4BC2-9C17-F960FE135F9E}" destId="{8FC2B97D-DB59-4737-9207-C815A23BF65E}" srcOrd="0" destOrd="0" presId="urn:microsoft.com/office/officeart/2009/3/layout/HorizontalOrganizationChart"/>
    <dgm:cxn modelId="{07BA3194-9F98-4565-9B7D-45A9D4AA9D58}" srcId="{DD0D810A-461B-43AB-9074-9E97C0408D20}" destId="{3AFB4E32-1F59-4D07-BCF8-91DA61B65CFA}" srcOrd="6" destOrd="0" parTransId="{021CF996-4CCE-4B2D-8851-2772864BBF67}" sibTransId="{6CBD2151-A96C-4245-80F1-24AEAD8E22AC}"/>
    <dgm:cxn modelId="{43466394-6D2E-44F0-A125-BCFB39DF3D79}" type="presOf" srcId="{807C3541-FEFF-4420-BA78-60ADD6E3C520}" destId="{099A95EB-AB3B-4D2F-914C-1F080595884C}" srcOrd="1" destOrd="0" presId="urn:microsoft.com/office/officeart/2009/3/layout/HorizontalOrganizationChart"/>
    <dgm:cxn modelId="{F82ADC96-2AB5-4C5A-A971-924C39713C16}" type="presOf" srcId="{EF3D876D-3EE3-4D07-AAFA-45A65E67153D}" destId="{3F481A9A-E90C-4996-961E-95AB6F4713AE}" srcOrd="0" destOrd="0" presId="urn:microsoft.com/office/officeart/2009/3/layout/HorizontalOrganizationChart"/>
    <dgm:cxn modelId="{3CC32698-C962-4A73-A988-8EA5FC608E19}" type="presOf" srcId="{95C081EA-E623-4650-8D9D-F9DDE315F8E5}" destId="{86C0B054-993D-4151-9D3E-C2A00B395E81}" srcOrd="1" destOrd="0" presId="urn:microsoft.com/office/officeart/2009/3/layout/HorizontalOrganizationChart"/>
    <dgm:cxn modelId="{52446098-2E7E-4BF5-A179-97DD94581684}" srcId="{E42E812B-A53E-410B-ACAF-65B89C809D9A}" destId="{659AE9CF-DD53-43E5-9868-97D2ED8D2738}" srcOrd="0" destOrd="0" parTransId="{01D5BAF7-61A6-42DD-9DAF-498F6404018D}" sibTransId="{F0F938A9-E8F2-4759-9C0A-EB76C102C3C3}"/>
    <dgm:cxn modelId="{3BEF1DA4-C6AE-4D74-9787-CF091BF45E25}" type="presOf" srcId="{659AE9CF-DD53-43E5-9868-97D2ED8D2738}" destId="{09C3C495-1B83-4181-89F0-E6D3004CEB2F}" srcOrd="1" destOrd="0" presId="urn:microsoft.com/office/officeart/2009/3/layout/HorizontalOrganizationChart"/>
    <dgm:cxn modelId="{A917CBA5-F4A7-401C-861C-7729087ACB05}" type="presOf" srcId="{E42E812B-A53E-410B-ACAF-65B89C809D9A}" destId="{2627D3DD-04F5-42AD-86C4-9401F0F5DBB9}" srcOrd="1" destOrd="0" presId="urn:microsoft.com/office/officeart/2009/3/layout/HorizontalOrganizationChart"/>
    <dgm:cxn modelId="{8F8F9EA7-3578-437A-9BE4-6CC8EA31BCCE}" type="presOf" srcId="{AA1F1399-24DD-429F-A4BB-7911C2B8BFFA}" destId="{7B81495F-33BB-448D-B55F-1F3EA6A5E543}" srcOrd="0" destOrd="0" presId="urn:microsoft.com/office/officeart/2009/3/layout/HorizontalOrganizationChart"/>
    <dgm:cxn modelId="{C54DF6B2-00B2-4C26-A602-412714C9EC67}" type="presOf" srcId="{FD1DBDAA-A001-4591-8DE7-1CF832D5998F}" destId="{33967DC3-621D-400D-945C-99F4F4EA2AAA}" srcOrd="1" destOrd="0" presId="urn:microsoft.com/office/officeart/2009/3/layout/HorizontalOrganizationChart"/>
    <dgm:cxn modelId="{D19C06BC-56F9-4287-A3A5-CB4B7FFD3C64}" type="presOf" srcId="{EF3D876D-3EE3-4D07-AAFA-45A65E67153D}" destId="{F8C2BD55-4131-46B1-9C8F-F2A0FB0317A4}" srcOrd="1" destOrd="0" presId="urn:microsoft.com/office/officeart/2009/3/layout/HorizontalOrganizationChart"/>
    <dgm:cxn modelId="{3C6B63BD-8297-47F2-843E-6985B5375181}" type="presOf" srcId="{568A67E8-8B88-4F43-BA34-F10135585D2B}" destId="{3C1A2501-9F7B-4F3E-A068-160271F1438C}" srcOrd="0" destOrd="0" presId="urn:microsoft.com/office/officeart/2009/3/layout/HorizontalOrganizationChart"/>
    <dgm:cxn modelId="{C5AC0BBE-9458-4577-A910-EB8B3D9E7770}" type="presOf" srcId="{A04CD877-1FBB-46AC-B119-4A1F5F1189AD}" destId="{38A77848-2E57-4687-A6E6-6C91FAAE6A5E}" srcOrd="0" destOrd="0" presId="urn:microsoft.com/office/officeart/2009/3/layout/HorizontalOrganizationChart"/>
    <dgm:cxn modelId="{A3225DBE-FBF4-4CA6-9910-43E74A7EDDCD}" srcId="{DD0D810A-461B-43AB-9074-9E97C0408D20}" destId="{08EED27D-B691-455A-8D11-8D4400592106}" srcOrd="0" destOrd="0" parTransId="{1BD718C0-8E31-4C02-8936-3DC9E7EB711A}" sibTransId="{7B5F34EC-77F8-4B43-BB2C-33BBF5B01984}"/>
    <dgm:cxn modelId="{06AA19BF-279A-4678-8A18-94CF30CBAC6D}" srcId="{DD0D810A-461B-43AB-9074-9E97C0408D20}" destId="{6C071D51-77B8-4EFD-9FB6-FCEF2ADC1246}" srcOrd="4" destOrd="0" parTransId="{67CD13A7-670A-494B-802B-0388262AD6E5}" sibTransId="{8C6DB17C-256F-4FB2-AE9B-B54A9AB67051}"/>
    <dgm:cxn modelId="{1C09AEC1-65EA-4FF6-9E51-D23FE510E4C5}" type="presOf" srcId="{A20406A2-2D7C-4A2D-8277-F2D7CFFC3989}" destId="{13B287E4-143C-46B8-BB97-EE4AB23BB594}" srcOrd="0" destOrd="0" presId="urn:microsoft.com/office/officeart/2009/3/layout/HorizontalOrganizationChart"/>
    <dgm:cxn modelId="{08C03AC3-FB42-491A-8AC3-DAA93AE19A3F}" srcId="{DD0D810A-461B-43AB-9074-9E97C0408D20}" destId="{85023C2C-452D-4AC9-A6FA-0F9D7138C59C}" srcOrd="3" destOrd="0" parTransId="{33B9A337-283C-49FE-8E6D-A95BFD1E8030}" sibTransId="{4DC8FC01-4200-4F98-B421-C3BD31407BFE}"/>
    <dgm:cxn modelId="{905CADC3-88A3-48FA-86B8-C03DA587E3DE}" type="presOf" srcId="{01D5BAF7-61A6-42DD-9DAF-498F6404018D}" destId="{D2F21566-B71B-4DB4-8B71-6AD821F912EA}" srcOrd="0" destOrd="0" presId="urn:microsoft.com/office/officeart/2009/3/layout/HorizontalOrganizationChart"/>
    <dgm:cxn modelId="{ADE6CCC5-F38C-4874-BCFE-513D489F7646}" type="presOf" srcId="{BC42BC40-0016-4436-879E-4DDC17E681D8}" destId="{9484AD96-A6D5-4748-969C-E4B92A970937}" srcOrd="0" destOrd="0" presId="urn:microsoft.com/office/officeart/2009/3/layout/HorizontalOrganizationChart"/>
    <dgm:cxn modelId="{7D98FFCD-3E13-40DA-88E2-046A375345C2}" type="presOf" srcId="{D54A7B4A-DF66-40C0-906F-D4D32F04FB90}" destId="{79FC5B86-667A-48F0-BC3B-753A77B62F21}" srcOrd="1" destOrd="0" presId="urn:microsoft.com/office/officeart/2009/3/layout/HorizontalOrganizationChart"/>
    <dgm:cxn modelId="{1D3B58CF-37D3-450E-8CFD-D020529A5875}" type="presOf" srcId="{6C071D51-77B8-4EFD-9FB6-FCEF2ADC1246}" destId="{10904998-4AC3-4226-96FF-4468A42FBDAE}" srcOrd="1" destOrd="0" presId="urn:microsoft.com/office/officeart/2009/3/layout/HorizontalOrganizationChart"/>
    <dgm:cxn modelId="{C2CF97D3-B112-4D03-A6FD-516FAAF7D45C}" type="presOf" srcId="{AD6FBD3B-8A7D-4317-BB75-D2A9592FB8BE}" destId="{185F49BA-0FB4-494E-888E-7DA48969E1D5}" srcOrd="0" destOrd="0" presId="urn:microsoft.com/office/officeart/2009/3/layout/HorizontalOrganizationChart"/>
    <dgm:cxn modelId="{F0341BD8-469F-4A6C-83F6-86DEA6671799}" srcId="{08EED27D-B691-455A-8D11-8D4400592106}" destId="{25689892-4E7D-40AA-A673-4C1F0CF0FA5A}" srcOrd="0" destOrd="0" parTransId="{F777E9C7-1812-46A8-9B44-36F638B989E3}" sibTransId="{32D3F911-C848-4633-AE9B-C684A3E2D4A0}"/>
    <dgm:cxn modelId="{47B6FDD8-6043-491A-BAC3-FAF6B2B83F1F}" type="presOf" srcId="{374E3B40-BBBE-480A-AFB4-88D490633E79}" destId="{9F0BEDB9-7DCE-4904-9629-127EC139FFBD}" srcOrd="1" destOrd="0" presId="urn:microsoft.com/office/officeart/2009/3/layout/HorizontalOrganizationChart"/>
    <dgm:cxn modelId="{923AA8DF-3EEE-4FF3-A492-E9283EB30559}" type="presOf" srcId="{181337CE-57D4-4E7A-A05B-60A37E2377AA}" destId="{B8AA2A11-64AA-4FE4-9F64-0E4D555198E6}" srcOrd="0" destOrd="0" presId="urn:microsoft.com/office/officeart/2009/3/layout/HorizontalOrganizationChart"/>
    <dgm:cxn modelId="{C56DC5E6-7E8F-4A33-A097-41B0928A6CDD}" type="presOf" srcId="{B56C1068-89F2-4261-94F2-98377A59CF83}" destId="{1D238B17-4702-4BC2-BE36-EB12789119F6}" srcOrd="0" destOrd="0" presId="urn:microsoft.com/office/officeart/2009/3/layout/HorizontalOrganizationChart"/>
    <dgm:cxn modelId="{BB18A0EB-88C8-4F4B-9B5E-6AC4589D78E2}" type="presOf" srcId="{85023C2C-452D-4AC9-A6FA-0F9D7138C59C}" destId="{66F839EA-1216-4387-BF5F-361D2D94650D}" srcOrd="0" destOrd="0" presId="urn:microsoft.com/office/officeart/2009/3/layout/HorizontalOrganizationChart"/>
    <dgm:cxn modelId="{03F662ED-6B87-4F71-8487-60A2059E35D1}" type="presOf" srcId="{6C071D51-77B8-4EFD-9FB6-FCEF2ADC1246}" destId="{34B92687-26AF-45EB-AA9C-D562FD3F5B8B}" srcOrd="0" destOrd="0" presId="urn:microsoft.com/office/officeart/2009/3/layout/HorizontalOrganizationChart"/>
    <dgm:cxn modelId="{3CE11AF0-5C3D-44ED-A945-F639058BCD49}" type="presOf" srcId="{8F0F0D30-959A-4B9D-B564-38D42E50F4A6}" destId="{AB977356-973A-4AF3-B9BD-6DE402EA5DD9}" srcOrd="0" destOrd="0" presId="urn:microsoft.com/office/officeart/2009/3/layout/HorizontalOrganizationChart"/>
    <dgm:cxn modelId="{2C34C2F2-6EAD-4E33-98E0-1B4DA41BBBD1}" type="presOf" srcId="{A0160691-C5F9-44B8-9B17-16C16C30252D}" destId="{E0713CEF-0EB2-4330-9243-6E22FB263EAB}" srcOrd="1" destOrd="0" presId="urn:microsoft.com/office/officeart/2009/3/layout/HorizontalOrganizationChart"/>
    <dgm:cxn modelId="{C4711EF9-7FF5-47D9-B651-0CB622028794}" type="presOf" srcId="{25689892-4E7D-40AA-A673-4C1F0CF0FA5A}" destId="{D4AD3584-CCC7-4C5D-BA2B-08F7C45B2342}" srcOrd="0" destOrd="0" presId="urn:microsoft.com/office/officeart/2009/3/layout/HorizontalOrganizationChart"/>
    <dgm:cxn modelId="{51B2F4F9-0333-406F-AE44-FDCCFB2EA127}" type="presOf" srcId="{25689892-4E7D-40AA-A673-4C1F0CF0FA5A}" destId="{51A2BFE9-2CCD-44C6-9C5D-AA2D7B94BF08}" srcOrd="1" destOrd="0" presId="urn:microsoft.com/office/officeart/2009/3/layout/HorizontalOrganizationChart"/>
    <dgm:cxn modelId="{F25954FA-CC47-49E9-A289-7FEAEBA941D5}" type="presOf" srcId="{0602ED7E-9C90-492C-B953-EE44638FBB95}" destId="{4DA49A07-9EA0-48E0-9D38-EEBB3D0A0EA8}" srcOrd="0" destOrd="0" presId="urn:microsoft.com/office/officeart/2009/3/layout/HorizontalOrganizationChart"/>
    <dgm:cxn modelId="{6D197EFA-E970-4CA7-BFDB-12014368DE9A}" srcId="{EF3D876D-3EE3-4D07-AAFA-45A65E67153D}" destId="{5CC210C8-5E6E-48F0-8FD0-6A866839FB6B}" srcOrd="0" destOrd="0" parTransId="{A20406A2-2D7C-4A2D-8277-F2D7CFFC3989}" sibTransId="{C531265A-64F9-4D92-A7AB-716575731EBF}"/>
    <dgm:cxn modelId="{66C2A8FC-EFFB-466F-80A2-CA604C653C52}" type="presOf" srcId="{29E6D98C-7CD3-4CEA-9EFA-45A1CA2D803A}" destId="{CE2D37E2-D65F-4650-8433-20B5E5B6F000}" srcOrd="0" destOrd="0" presId="urn:microsoft.com/office/officeart/2009/3/layout/HorizontalOrganizationChart"/>
    <dgm:cxn modelId="{A7467206-0FE5-47FC-9BF3-21F589CC6756}" type="presParOf" srcId="{5AF7821A-E4E4-49F2-8CDD-D8E21E18D6E7}" destId="{80C2B7DA-1707-47D2-8EFC-5288AE8913B6}" srcOrd="0" destOrd="0" presId="urn:microsoft.com/office/officeart/2009/3/layout/HorizontalOrganizationChart"/>
    <dgm:cxn modelId="{71E5B350-0082-400D-8A61-B292095D7047}" type="presParOf" srcId="{80C2B7DA-1707-47D2-8EFC-5288AE8913B6}" destId="{6175FF66-8DB8-481C-B9D3-3EA8A4149F44}" srcOrd="0" destOrd="0" presId="urn:microsoft.com/office/officeart/2009/3/layout/HorizontalOrganizationChart"/>
    <dgm:cxn modelId="{82F0C3B0-B6FF-43EF-A60F-9487E6A53106}" type="presParOf" srcId="{6175FF66-8DB8-481C-B9D3-3EA8A4149F44}" destId="{CA82278E-F451-4EA7-A79E-93E1B57BBB1F}" srcOrd="0" destOrd="0" presId="urn:microsoft.com/office/officeart/2009/3/layout/HorizontalOrganizationChart"/>
    <dgm:cxn modelId="{8A7ACA58-6E98-488D-A40E-9746FDDEB19E}" type="presParOf" srcId="{6175FF66-8DB8-481C-B9D3-3EA8A4149F44}" destId="{34623623-3BE4-45CF-BD25-CAAB9AF090E9}" srcOrd="1" destOrd="0" presId="urn:microsoft.com/office/officeart/2009/3/layout/HorizontalOrganizationChart"/>
    <dgm:cxn modelId="{087BFF0E-08C7-4686-AF73-DACD8B03D57D}" type="presParOf" srcId="{80C2B7DA-1707-47D2-8EFC-5288AE8913B6}" destId="{967DC226-F180-4127-893E-63135C92783A}" srcOrd="1" destOrd="0" presId="urn:microsoft.com/office/officeart/2009/3/layout/HorizontalOrganizationChart"/>
    <dgm:cxn modelId="{47ED6B82-4E9E-44BE-B18A-5CB98E07720C}" type="presParOf" srcId="{967DC226-F180-4127-893E-63135C92783A}" destId="{138DA514-4305-4324-9DD8-A4E5D22470C0}" srcOrd="0" destOrd="0" presId="urn:microsoft.com/office/officeart/2009/3/layout/HorizontalOrganizationChart"/>
    <dgm:cxn modelId="{E70022F9-CB57-46F9-BC46-CBD81DA8F672}" type="presParOf" srcId="{967DC226-F180-4127-893E-63135C92783A}" destId="{A529037C-7282-41BC-829D-90E41CBB3114}" srcOrd="1" destOrd="0" presId="urn:microsoft.com/office/officeart/2009/3/layout/HorizontalOrganizationChart"/>
    <dgm:cxn modelId="{36C1ECE6-3C6F-4B94-9F63-8123A5D05E18}" type="presParOf" srcId="{A529037C-7282-41BC-829D-90E41CBB3114}" destId="{C8B28FF1-0151-406F-9BD0-E3B77F05369F}" srcOrd="0" destOrd="0" presId="urn:microsoft.com/office/officeart/2009/3/layout/HorizontalOrganizationChart"/>
    <dgm:cxn modelId="{E994B42B-6B65-4003-A040-4196DDF30C2F}" type="presParOf" srcId="{C8B28FF1-0151-406F-9BD0-E3B77F05369F}" destId="{D4AD3584-CCC7-4C5D-BA2B-08F7C45B2342}" srcOrd="0" destOrd="0" presId="urn:microsoft.com/office/officeart/2009/3/layout/HorizontalOrganizationChart"/>
    <dgm:cxn modelId="{55A123A2-8D33-4E9A-8C76-6598330766EB}" type="presParOf" srcId="{C8B28FF1-0151-406F-9BD0-E3B77F05369F}" destId="{51A2BFE9-2CCD-44C6-9C5D-AA2D7B94BF08}" srcOrd="1" destOrd="0" presId="urn:microsoft.com/office/officeart/2009/3/layout/HorizontalOrganizationChart"/>
    <dgm:cxn modelId="{ED5D28D9-A501-4677-8CFE-B5405227D87D}" type="presParOf" srcId="{A529037C-7282-41BC-829D-90E41CBB3114}" destId="{ABD2552C-D71B-4C5F-AD9C-234A9D45F0AB}" srcOrd="1" destOrd="0" presId="urn:microsoft.com/office/officeart/2009/3/layout/HorizontalOrganizationChart"/>
    <dgm:cxn modelId="{C6DB3E44-1791-4D62-A941-DE8A16F20CA4}" type="presParOf" srcId="{ABD2552C-D71B-4C5F-AD9C-234A9D45F0AB}" destId="{1D238B17-4702-4BC2-BE36-EB12789119F6}" srcOrd="0" destOrd="0" presId="urn:microsoft.com/office/officeart/2009/3/layout/HorizontalOrganizationChart"/>
    <dgm:cxn modelId="{EEDA465A-253F-44C4-8099-CB7B17759FD5}" type="presParOf" srcId="{ABD2552C-D71B-4C5F-AD9C-234A9D45F0AB}" destId="{004F2797-0A35-4803-A8F6-A10C3F438A71}" srcOrd="1" destOrd="0" presId="urn:microsoft.com/office/officeart/2009/3/layout/HorizontalOrganizationChart"/>
    <dgm:cxn modelId="{47E09AE5-6D0F-4F96-831C-D74EDB46AFFA}" type="presParOf" srcId="{004F2797-0A35-4803-A8F6-A10C3F438A71}" destId="{177DA025-CC0E-40EB-81C5-DD183799493A}" srcOrd="0" destOrd="0" presId="urn:microsoft.com/office/officeart/2009/3/layout/HorizontalOrganizationChart"/>
    <dgm:cxn modelId="{93B17230-632C-44BC-878C-969663D300B3}" type="presParOf" srcId="{177DA025-CC0E-40EB-81C5-DD183799493A}" destId="{0EE0040A-1396-415B-8C01-1232BE958866}" srcOrd="0" destOrd="0" presId="urn:microsoft.com/office/officeart/2009/3/layout/HorizontalOrganizationChart"/>
    <dgm:cxn modelId="{1CE5226A-51F5-440A-A7F8-9EF4200AB726}" type="presParOf" srcId="{177DA025-CC0E-40EB-81C5-DD183799493A}" destId="{86C0B054-993D-4151-9D3E-C2A00B395E81}" srcOrd="1" destOrd="0" presId="urn:microsoft.com/office/officeart/2009/3/layout/HorizontalOrganizationChart"/>
    <dgm:cxn modelId="{59510657-A279-4F24-9B48-F26B66D22A08}" type="presParOf" srcId="{004F2797-0A35-4803-A8F6-A10C3F438A71}" destId="{EBB6F584-BB2C-455C-8241-A86734C8CD05}" srcOrd="1" destOrd="0" presId="urn:microsoft.com/office/officeart/2009/3/layout/HorizontalOrganizationChart"/>
    <dgm:cxn modelId="{A9781952-0F11-4C8D-93DB-B03A7C88A213}" type="presParOf" srcId="{004F2797-0A35-4803-A8F6-A10C3F438A71}" destId="{52201E78-AF28-46F4-909E-5B63B07F75CF}" srcOrd="2" destOrd="0" presId="urn:microsoft.com/office/officeart/2009/3/layout/HorizontalOrganizationChart"/>
    <dgm:cxn modelId="{EF10C624-2DDA-4B8E-9D83-1DF34EADBEAE}" type="presParOf" srcId="{A529037C-7282-41BC-829D-90E41CBB3114}" destId="{50E30CAA-BFDE-437B-B60D-77B70AB889E5}" srcOrd="2" destOrd="0" presId="urn:microsoft.com/office/officeart/2009/3/layout/HorizontalOrganizationChart"/>
    <dgm:cxn modelId="{A121695F-8380-4F1A-9A50-6DBAF73C7EB4}" type="presParOf" srcId="{80C2B7DA-1707-47D2-8EFC-5288AE8913B6}" destId="{CE207384-9C5C-42F5-AA42-3083E271C6CA}" srcOrd="2" destOrd="0" presId="urn:microsoft.com/office/officeart/2009/3/layout/HorizontalOrganizationChart"/>
    <dgm:cxn modelId="{CD1EC7CC-5926-4265-AAC5-EB8AB516CE30}" type="presParOf" srcId="{5AF7821A-E4E4-49F2-8CDD-D8E21E18D6E7}" destId="{4BD177F1-71A5-42DC-ADD4-97EB642BC6F7}" srcOrd="1" destOrd="0" presId="urn:microsoft.com/office/officeart/2009/3/layout/HorizontalOrganizationChart"/>
    <dgm:cxn modelId="{09562205-80B2-4515-AFAC-73B792847AA4}" type="presParOf" srcId="{4BD177F1-71A5-42DC-ADD4-97EB642BC6F7}" destId="{46DA27E1-06FD-4F4A-A9DF-3CD32D763FE7}" srcOrd="0" destOrd="0" presId="urn:microsoft.com/office/officeart/2009/3/layout/HorizontalOrganizationChart"/>
    <dgm:cxn modelId="{65D8BFF3-617D-4BA6-8FE5-53E98697F03F}" type="presParOf" srcId="{46DA27E1-06FD-4F4A-A9DF-3CD32D763FE7}" destId="{EBCCF8B9-6E13-4F0A-BE2A-F8631A1C1FC2}" srcOrd="0" destOrd="0" presId="urn:microsoft.com/office/officeart/2009/3/layout/HorizontalOrganizationChart"/>
    <dgm:cxn modelId="{C33C34E9-AD43-48B9-AE38-E37D0179CB5F}" type="presParOf" srcId="{46DA27E1-06FD-4F4A-A9DF-3CD32D763FE7}" destId="{E0713CEF-0EB2-4330-9243-6E22FB263EAB}" srcOrd="1" destOrd="0" presId="urn:microsoft.com/office/officeart/2009/3/layout/HorizontalOrganizationChart"/>
    <dgm:cxn modelId="{535BE122-B625-4E2B-9F3F-E3B9A60A010F}" type="presParOf" srcId="{4BD177F1-71A5-42DC-ADD4-97EB642BC6F7}" destId="{C1664349-10AB-46D2-94A6-63717898D71D}" srcOrd="1" destOrd="0" presId="urn:microsoft.com/office/officeart/2009/3/layout/HorizontalOrganizationChart"/>
    <dgm:cxn modelId="{E93A89BF-A6AD-41F7-A2D1-2EB73BAA2748}" type="presParOf" srcId="{C1664349-10AB-46D2-94A6-63717898D71D}" destId="{E5C0F204-0BA5-475D-BA78-58C4F5296014}" srcOrd="0" destOrd="0" presId="urn:microsoft.com/office/officeart/2009/3/layout/HorizontalOrganizationChart"/>
    <dgm:cxn modelId="{D753DC25-27D0-46EC-9FDE-11CDF720F3B9}" type="presParOf" srcId="{C1664349-10AB-46D2-94A6-63717898D71D}" destId="{290712CB-1DDF-4D68-9E5C-7197A0534851}" srcOrd="1" destOrd="0" presId="urn:microsoft.com/office/officeart/2009/3/layout/HorizontalOrganizationChart"/>
    <dgm:cxn modelId="{9D848A53-DFB3-42E6-83CC-939E8A5AEB9B}" type="presParOf" srcId="{290712CB-1DDF-4D68-9E5C-7197A0534851}" destId="{2E93130A-9444-4D53-BD77-CAA218240F42}" srcOrd="0" destOrd="0" presId="urn:microsoft.com/office/officeart/2009/3/layout/HorizontalOrganizationChart"/>
    <dgm:cxn modelId="{76C40273-2DD7-420B-9396-4E5ED640E567}" type="presParOf" srcId="{2E93130A-9444-4D53-BD77-CAA218240F42}" destId="{B8AA2A11-64AA-4FE4-9F64-0E4D555198E6}" srcOrd="0" destOrd="0" presId="urn:microsoft.com/office/officeart/2009/3/layout/HorizontalOrganizationChart"/>
    <dgm:cxn modelId="{97532E48-319D-4C81-B293-672C6CA334DA}" type="presParOf" srcId="{2E93130A-9444-4D53-BD77-CAA218240F42}" destId="{07A69A87-9540-482A-9996-68EA3C7E714E}" srcOrd="1" destOrd="0" presId="urn:microsoft.com/office/officeart/2009/3/layout/HorizontalOrganizationChart"/>
    <dgm:cxn modelId="{BD68332E-AC2D-4F95-9D44-1C26028BB9A8}" type="presParOf" srcId="{290712CB-1DDF-4D68-9E5C-7197A0534851}" destId="{AA8EFDEF-8FD8-4933-A2B5-75D59B00BEFE}" srcOrd="1" destOrd="0" presId="urn:microsoft.com/office/officeart/2009/3/layout/HorizontalOrganizationChart"/>
    <dgm:cxn modelId="{46EA426E-ECB0-4E21-BEB6-FFE8C9EFB145}" type="presParOf" srcId="{290712CB-1DDF-4D68-9E5C-7197A0534851}" destId="{6023BCC4-6DF0-4399-99E0-F319E9304DD8}" srcOrd="2" destOrd="0" presId="urn:microsoft.com/office/officeart/2009/3/layout/HorizontalOrganizationChart"/>
    <dgm:cxn modelId="{79E84A5D-F456-46F1-B45B-16FEC37184CA}" type="presParOf" srcId="{4BD177F1-71A5-42DC-ADD4-97EB642BC6F7}" destId="{8D9E2A64-42B6-41B5-BBB9-2B0527FD2A03}" srcOrd="2" destOrd="0" presId="urn:microsoft.com/office/officeart/2009/3/layout/HorizontalOrganizationChart"/>
    <dgm:cxn modelId="{1B1EB1D5-8141-4DF7-BFC4-84217C29432F}" type="presParOf" srcId="{5AF7821A-E4E4-49F2-8CDD-D8E21E18D6E7}" destId="{8B5217B2-D8A9-4406-95CD-193DFB136C0C}" srcOrd="2" destOrd="0" presId="urn:microsoft.com/office/officeart/2009/3/layout/HorizontalOrganizationChart"/>
    <dgm:cxn modelId="{7E7F3E5E-64D1-47DD-BBA8-62EFCC364690}" type="presParOf" srcId="{8B5217B2-D8A9-4406-95CD-193DFB136C0C}" destId="{96E018EA-A970-4DA3-830B-5B7BB854B367}" srcOrd="0" destOrd="0" presId="urn:microsoft.com/office/officeart/2009/3/layout/HorizontalOrganizationChart"/>
    <dgm:cxn modelId="{7E2ADB7E-A826-4BAC-8A51-A9DE3FC8BF07}" type="presParOf" srcId="{96E018EA-A970-4DA3-830B-5B7BB854B367}" destId="{9FC8182C-B293-4C29-819C-5B43DEE42D86}" srcOrd="0" destOrd="0" presId="urn:microsoft.com/office/officeart/2009/3/layout/HorizontalOrganizationChart"/>
    <dgm:cxn modelId="{FB061DD4-EBE0-40C2-B4DC-0502D89DAD9B}" type="presParOf" srcId="{96E018EA-A970-4DA3-830B-5B7BB854B367}" destId="{9F0BEDB9-7DCE-4904-9629-127EC139FFBD}" srcOrd="1" destOrd="0" presId="urn:microsoft.com/office/officeart/2009/3/layout/HorizontalOrganizationChart"/>
    <dgm:cxn modelId="{3317CAA7-C222-41E7-AFDB-167E2C0A0A73}" type="presParOf" srcId="{8B5217B2-D8A9-4406-95CD-193DFB136C0C}" destId="{A604F5CC-EA0C-465B-AA09-58BA5C447BF1}" srcOrd="1" destOrd="0" presId="urn:microsoft.com/office/officeart/2009/3/layout/HorizontalOrganizationChart"/>
    <dgm:cxn modelId="{00BBE709-87E8-4AA3-B2B0-FBD12D8949CB}" type="presParOf" srcId="{A604F5CC-EA0C-465B-AA09-58BA5C447BF1}" destId="{8FC2B97D-DB59-4737-9207-C815A23BF65E}" srcOrd="0" destOrd="0" presId="urn:microsoft.com/office/officeart/2009/3/layout/HorizontalOrganizationChart"/>
    <dgm:cxn modelId="{2844BA96-5660-455D-9E30-E6F8A2C63320}" type="presParOf" srcId="{A604F5CC-EA0C-465B-AA09-58BA5C447BF1}" destId="{34A0EE78-3DF5-4909-A7B6-15CBCD97511B}" srcOrd="1" destOrd="0" presId="urn:microsoft.com/office/officeart/2009/3/layout/HorizontalOrganizationChart"/>
    <dgm:cxn modelId="{9EAEDE0A-CD8F-4D93-8AA3-E603F76599FE}" type="presParOf" srcId="{34A0EE78-3DF5-4909-A7B6-15CBCD97511B}" destId="{29389128-715E-4BB8-9030-711F62B0656F}" srcOrd="0" destOrd="0" presId="urn:microsoft.com/office/officeart/2009/3/layout/HorizontalOrganizationChart"/>
    <dgm:cxn modelId="{D2EAD0D7-FEE0-4A06-922B-1F95BD79B118}" type="presParOf" srcId="{29389128-715E-4BB8-9030-711F62B0656F}" destId="{3F481A9A-E90C-4996-961E-95AB6F4713AE}" srcOrd="0" destOrd="0" presId="urn:microsoft.com/office/officeart/2009/3/layout/HorizontalOrganizationChart"/>
    <dgm:cxn modelId="{E3902422-17E7-4DB2-851F-27CEF79232DA}" type="presParOf" srcId="{29389128-715E-4BB8-9030-711F62B0656F}" destId="{F8C2BD55-4131-46B1-9C8F-F2A0FB0317A4}" srcOrd="1" destOrd="0" presId="urn:microsoft.com/office/officeart/2009/3/layout/HorizontalOrganizationChart"/>
    <dgm:cxn modelId="{268DF2C5-8F89-45DD-B7B4-5CED65D46B00}" type="presParOf" srcId="{34A0EE78-3DF5-4909-A7B6-15CBCD97511B}" destId="{89649727-9223-4170-8570-F806B1255349}" srcOrd="1" destOrd="0" presId="urn:microsoft.com/office/officeart/2009/3/layout/HorizontalOrganizationChart"/>
    <dgm:cxn modelId="{D9889A46-C5FC-43AE-B8E9-00390A135A02}" type="presParOf" srcId="{89649727-9223-4170-8570-F806B1255349}" destId="{13B287E4-143C-46B8-BB97-EE4AB23BB594}" srcOrd="0" destOrd="0" presId="urn:microsoft.com/office/officeart/2009/3/layout/HorizontalOrganizationChart"/>
    <dgm:cxn modelId="{ABCCBB67-7AFD-4140-9C05-D95556508A49}" type="presParOf" srcId="{89649727-9223-4170-8570-F806B1255349}" destId="{167D6D34-8479-49A9-90D8-463019E5D7C4}" srcOrd="1" destOrd="0" presId="urn:microsoft.com/office/officeart/2009/3/layout/HorizontalOrganizationChart"/>
    <dgm:cxn modelId="{FBF88530-EE3B-496E-B15A-A6DF640634C8}" type="presParOf" srcId="{167D6D34-8479-49A9-90D8-463019E5D7C4}" destId="{3D41579B-CEFC-4F48-90A9-71177D2BC668}" srcOrd="0" destOrd="0" presId="urn:microsoft.com/office/officeart/2009/3/layout/HorizontalOrganizationChart"/>
    <dgm:cxn modelId="{4A69C3BD-4FD0-445D-9D42-CC0186A678AC}" type="presParOf" srcId="{3D41579B-CEFC-4F48-90A9-71177D2BC668}" destId="{819DBB63-9FFA-4E43-A6FD-4C64089534ED}" srcOrd="0" destOrd="0" presId="urn:microsoft.com/office/officeart/2009/3/layout/HorizontalOrganizationChart"/>
    <dgm:cxn modelId="{02FC59B6-740D-4784-A727-F9364074A05D}" type="presParOf" srcId="{3D41579B-CEFC-4F48-90A9-71177D2BC668}" destId="{61996124-B121-4C46-839E-B33748350A1C}" srcOrd="1" destOrd="0" presId="urn:microsoft.com/office/officeart/2009/3/layout/HorizontalOrganizationChart"/>
    <dgm:cxn modelId="{25390C04-ED0C-4B5D-8548-489007481A6F}" type="presParOf" srcId="{167D6D34-8479-49A9-90D8-463019E5D7C4}" destId="{54A2FDD9-E01D-4F18-A735-3C0A31DB24C6}" srcOrd="1" destOrd="0" presId="urn:microsoft.com/office/officeart/2009/3/layout/HorizontalOrganizationChart"/>
    <dgm:cxn modelId="{5A42F72C-AA7D-4B78-AAA5-669476C07380}" type="presParOf" srcId="{167D6D34-8479-49A9-90D8-463019E5D7C4}" destId="{A51272A7-807E-45A4-8542-482B290D118F}" srcOrd="2" destOrd="0" presId="urn:microsoft.com/office/officeart/2009/3/layout/HorizontalOrganizationChart"/>
    <dgm:cxn modelId="{F30502BD-4301-48B1-A9FB-81F6F1A5F199}" type="presParOf" srcId="{34A0EE78-3DF5-4909-A7B6-15CBCD97511B}" destId="{012871F6-A4FF-4931-B07F-977EBC7CF012}" srcOrd="2" destOrd="0" presId="urn:microsoft.com/office/officeart/2009/3/layout/HorizontalOrganizationChart"/>
    <dgm:cxn modelId="{1FA6053F-6FBB-4F9B-9911-A28695E0A665}" type="presParOf" srcId="{8B5217B2-D8A9-4406-95CD-193DFB136C0C}" destId="{FE254E6B-1A30-45E9-9FD1-F9E71E9C56CB}" srcOrd="2" destOrd="0" presId="urn:microsoft.com/office/officeart/2009/3/layout/HorizontalOrganizationChart"/>
    <dgm:cxn modelId="{3557EC24-8DE0-483A-A5E0-0C47A2E32BD6}" type="presParOf" srcId="{5AF7821A-E4E4-49F2-8CDD-D8E21E18D6E7}" destId="{DE52C9D7-1C26-4F2C-8884-F0161087CFEC}" srcOrd="3" destOrd="0" presId="urn:microsoft.com/office/officeart/2009/3/layout/HorizontalOrganizationChart"/>
    <dgm:cxn modelId="{D9B8258C-F051-49FD-B70E-71CE52BFBEB5}" type="presParOf" srcId="{DE52C9D7-1C26-4F2C-8884-F0161087CFEC}" destId="{2594697B-A8B0-4DF6-9B4B-C4C147C6BFE4}" srcOrd="0" destOrd="0" presId="urn:microsoft.com/office/officeart/2009/3/layout/HorizontalOrganizationChart"/>
    <dgm:cxn modelId="{C850F945-8729-49EC-8F00-AF65A3B2C87B}" type="presParOf" srcId="{2594697B-A8B0-4DF6-9B4B-C4C147C6BFE4}" destId="{66F839EA-1216-4387-BF5F-361D2D94650D}" srcOrd="0" destOrd="0" presId="urn:microsoft.com/office/officeart/2009/3/layout/HorizontalOrganizationChart"/>
    <dgm:cxn modelId="{EFA7FCBB-BC03-4875-9DF1-BCD5311BF300}" type="presParOf" srcId="{2594697B-A8B0-4DF6-9B4B-C4C147C6BFE4}" destId="{CFC18B94-4FBA-47CD-ABD6-749462FCC69A}" srcOrd="1" destOrd="0" presId="urn:microsoft.com/office/officeart/2009/3/layout/HorizontalOrganizationChart"/>
    <dgm:cxn modelId="{283CA444-453C-4D19-A748-5952E551DAF2}" type="presParOf" srcId="{DE52C9D7-1C26-4F2C-8884-F0161087CFEC}" destId="{8008F72F-2BF3-4F4B-B1AE-6D23C28FEC3F}" srcOrd="1" destOrd="0" presId="urn:microsoft.com/office/officeart/2009/3/layout/HorizontalOrganizationChart"/>
    <dgm:cxn modelId="{64B57933-C0AC-41D6-89C0-93694E0C09EF}" type="presParOf" srcId="{8008F72F-2BF3-4F4B-B1AE-6D23C28FEC3F}" destId="{9484AD96-A6D5-4748-969C-E4B92A970937}" srcOrd="0" destOrd="0" presId="urn:microsoft.com/office/officeart/2009/3/layout/HorizontalOrganizationChart"/>
    <dgm:cxn modelId="{359E3627-4667-4643-829F-A77553199A18}" type="presParOf" srcId="{8008F72F-2BF3-4F4B-B1AE-6D23C28FEC3F}" destId="{F0908C13-C516-4E97-AE4F-A27E3162C72B}" srcOrd="1" destOrd="0" presId="urn:microsoft.com/office/officeart/2009/3/layout/HorizontalOrganizationChart"/>
    <dgm:cxn modelId="{ED6920B8-5EFE-4E29-B4BF-DD71E4CA4126}" type="presParOf" srcId="{F0908C13-C516-4E97-AE4F-A27E3162C72B}" destId="{2E81F640-154B-4417-B0A9-D6EB5324CCDA}" srcOrd="0" destOrd="0" presId="urn:microsoft.com/office/officeart/2009/3/layout/HorizontalOrganizationChart"/>
    <dgm:cxn modelId="{2CD1FF02-B61A-4AF3-8DFC-CD125AFCC4C8}" type="presParOf" srcId="{2E81F640-154B-4417-B0A9-D6EB5324CCDA}" destId="{20E39DE7-734B-43EE-83E1-5DA2E5DB6F29}" srcOrd="0" destOrd="0" presId="urn:microsoft.com/office/officeart/2009/3/layout/HorizontalOrganizationChart"/>
    <dgm:cxn modelId="{85098494-DADA-493D-9358-EC4B720FEF2A}" type="presParOf" srcId="{2E81F640-154B-4417-B0A9-D6EB5324CCDA}" destId="{6F1015F1-923E-445D-9DC0-CC0AADDA21B0}" srcOrd="1" destOrd="0" presId="urn:microsoft.com/office/officeart/2009/3/layout/HorizontalOrganizationChart"/>
    <dgm:cxn modelId="{0EDA9303-5B6D-4359-8964-65E9D0884695}" type="presParOf" srcId="{F0908C13-C516-4E97-AE4F-A27E3162C72B}" destId="{47F9191B-8921-427D-A218-4B1FA0964AB1}" srcOrd="1" destOrd="0" presId="urn:microsoft.com/office/officeart/2009/3/layout/HorizontalOrganizationChart"/>
    <dgm:cxn modelId="{5CEF35FF-C549-4BA6-A204-AD08CE874ABD}" type="presParOf" srcId="{F0908C13-C516-4E97-AE4F-A27E3162C72B}" destId="{3CAB266D-C7D7-412C-A49D-595498C85A94}" srcOrd="2" destOrd="0" presId="urn:microsoft.com/office/officeart/2009/3/layout/HorizontalOrganizationChart"/>
    <dgm:cxn modelId="{0FDD4538-3625-42EC-ADB7-B341E2F9F961}" type="presParOf" srcId="{DE52C9D7-1C26-4F2C-8884-F0161087CFEC}" destId="{2FCDA872-C4AD-4128-907B-23A336D4CF4F}" srcOrd="2" destOrd="0" presId="urn:microsoft.com/office/officeart/2009/3/layout/HorizontalOrganizationChart"/>
    <dgm:cxn modelId="{50D4FDE1-0142-48BD-885A-7AB49EF7215D}" type="presParOf" srcId="{5AF7821A-E4E4-49F2-8CDD-D8E21E18D6E7}" destId="{548E39BF-3D16-4FA0-806F-A12583432E44}" srcOrd="4" destOrd="0" presId="urn:microsoft.com/office/officeart/2009/3/layout/HorizontalOrganizationChart"/>
    <dgm:cxn modelId="{EC8B1D39-871D-4E61-8EE6-2DEAEA6ABD6D}" type="presParOf" srcId="{548E39BF-3D16-4FA0-806F-A12583432E44}" destId="{CE63C615-46B4-4681-A9AF-FAB968BA1A11}" srcOrd="0" destOrd="0" presId="urn:microsoft.com/office/officeart/2009/3/layout/HorizontalOrganizationChart"/>
    <dgm:cxn modelId="{6915CE47-C534-4512-87DA-10891CCA782E}" type="presParOf" srcId="{CE63C615-46B4-4681-A9AF-FAB968BA1A11}" destId="{34B92687-26AF-45EB-AA9C-D562FD3F5B8B}" srcOrd="0" destOrd="0" presId="urn:microsoft.com/office/officeart/2009/3/layout/HorizontalOrganizationChart"/>
    <dgm:cxn modelId="{8C67C3FA-5857-4528-9D50-46ACFFE75792}" type="presParOf" srcId="{CE63C615-46B4-4681-A9AF-FAB968BA1A11}" destId="{10904998-4AC3-4226-96FF-4468A42FBDAE}" srcOrd="1" destOrd="0" presId="urn:microsoft.com/office/officeart/2009/3/layout/HorizontalOrganizationChart"/>
    <dgm:cxn modelId="{0E35B6DF-F79C-46D8-B3A1-6D1232D46D2D}" type="presParOf" srcId="{548E39BF-3D16-4FA0-806F-A12583432E44}" destId="{314849F8-32DF-4E05-86A2-78390C9812CA}" srcOrd="1" destOrd="0" presId="urn:microsoft.com/office/officeart/2009/3/layout/HorizontalOrganizationChart"/>
    <dgm:cxn modelId="{9943D00C-8E9E-4BA6-B413-467F4FAF2991}" type="presParOf" srcId="{314849F8-32DF-4E05-86A2-78390C9812CA}" destId="{F580550D-7334-4B9E-95B2-51BB673FC8D1}" srcOrd="0" destOrd="0" presId="urn:microsoft.com/office/officeart/2009/3/layout/HorizontalOrganizationChart"/>
    <dgm:cxn modelId="{5C24CF44-68A8-405E-830B-131D70DB09FD}" type="presParOf" srcId="{314849F8-32DF-4E05-86A2-78390C9812CA}" destId="{5D024D76-02E8-4BC8-B6A7-1ED65FC22934}" srcOrd="1" destOrd="0" presId="urn:microsoft.com/office/officeart/2009/3/layout/HorizontalOrganizationChart"/>
    <dgm:cxn modelId="{783E0C76-423C-4435-9882-0F652DB86AF3}" type="presParOf" srcId="{5D024D76-02E8-4BC8-B6A7-1ED65FC22934}" destId="{58B89B0E-A179-4F98-A109-D527ACCA21EB}" srcOrd="0" destOrd="0" presId="urn:microsoft.com/office/officeart/2009/3/layout/HorizontalOrganizationChart"/>
    <dgm:cxn modelId="{A0061957-6CD2-47FB-A92D-257BF7C33221}" type="presParOf" srcId="{58B89B0E-A179-4F98-A109-D527ACCA21EB}" destId="{4DA49A07-9EA0-48E0-9D38-EEBB3D0A0EA8}" srcOrd="0" destOrd="0" presId="urn:microsoft.com/office/officeart/2009/3/layout/HorizontalOrganizationChart"/>
    <dgm:cxn modelId="{62259A05-9906-4228-9D6F-0A4CF68DA423}" type="presParOf" srcId="{58B89B0E-A179-4F98-A109-D527ACCA21EB}" destId="{791FDAA3-E3B9-44A0-A506-C5A7896959A9}" srcOrd="1" destOrd="0" presId="urn:microsoft.com/office/officeart/2009/3/layout/HorizontalOrganizationChart"/>
    <dgm:cxn modelId="{D50F3BF9-21EB-4012-A316-926AC91F545E}" type="presParOf" srcId="{5D024D76-02E8-4BC8-B6A7-1ED65FC22934}" destId="{F4BAA4A6-4A8D-4FE3-BE4B-970580080373}" srcOrd="1" destOrd="0" presId="urn:microsoft.com/office/officeart/2009/3/layout/HorizontalOrganizationChart"/>
    <dgm:cxn modelId="{B16F2196-7B4B-4D0F-BDD5-DC0AB59F8D24}" type="presParOf" srcId="{F4BAA4A6-4A8D-4FE3-BE4B-970580080373}" destId="{88CBFC17-B32F-40BB-A01F-845BE2F3B3D2}" srcOrd="0" destOrd="0" presId="urn:microsoft.com/office/officeart/2009/3/layout/HorizontalOrganizationChart"/>
    <dgm:cxn modelId="{ACC7D75E-99D7-419A-8475-18D88C06F067}" type="presParOf" srcId="{F4BAA4A6-4A8D-4FE3-BE4B-970580080373}" destId="{497FC27D-FBFD-40FD-B143-73D58863783C}" srcOrd="1" destOrd="0" presId="urn:microsoft.com/office/officeart/2009/3/layout/HorizontalOrganizationChart"/>
    <dgm:cxn modelId="{1F7368A1-F782-4099-8794-52E5B311D6C9}" type="presParOf" srcId="{497FC27D-FBFD-40FD-B143-73D58863783C}" destId="{7A78D83F-1F19-49EA-A692-D8C7154E0D2A}" srcOrd="0" destOrd="0" presId="urn:microsoft.com/office/officeart/2009/3/layout/HorizontalOrganizationChart"/>
    <dgm:cxn modelId="{BFEC4645-9305-4431-818F-9DCA723E3D59}" type="presParOf" srcId="{7A78D83F-1F19-49EA-A692-D8C7154E0D2A}" destId="{185F49BA-0FB4-494E-888E-7DA48969E1D5}" srcOrd="0" destOrd="0" presId="urn:microsoft.com/office/officeart/2009/3/layout/HorizontalOrganizationChart"/>
    <dgm:cxn modelId="{2F92B5A7-6F6E-45EF-8BB3-C5D1D552E759}" type="presParOf" srcId="{7A78D83F-1F19-49EA-A692-D8C7154E0D2A}" destId="{B807D448-C164-41F3-952C-4662C5DAB639}" srcOrd="1" destOrd="0" presId="urn:microsoft.com/office/officeart/2009/3/layout/HorizontalOrganizationChart"/>
    <dgm:cxn modelId="{2A4C3CBE-D38F-48E2-9FDF-141C4F8AAF70}" type="presParOf" srcId="{497FC27D-FBFD-40FD-B143-73D58863783C}" destId="{41C29178-ECF4-45D7-97EE-1D8ED8D70730}" srcOrd="1" destOrd="0" presId="urn:microsoft.com/office/officeart/2009/3/layout/HorizontalOrganizationChart"/>
    <dgm:cxn modelId="{687FEB0D-F756-4A52-A74D-9ECEBDCBD7EE}" type="presParOf" srcId="{497FC27D-FBFD-40FD-B143-73D58863783C}" destId="{C84A8BD9-3428-4B7A-98EA-1C0776D2CFCB}" srcOrd="2" destOrd="0" presId="urn:microsoft.com/office/officeart/2009/3/layout/HorizontalOrganizationChart"/>
    <dgm:cxn modelId="{D0DC649F-C331-4B46-9B59-2F3844BCB405}" type="presParOf" srcId="{5D024D76-02E8-4BC8-B6A7-1ED65FC22934}" destId="{3EF75164-2C5D-4F1B-95FD-4DE87B539CD2}" srcOrd="2" destOrd="0" presId="urn:microsoft.com/office/officeart/2009/3/layout/HorizontalOrganizationChart"/>
    <dgm:cxn modelId="{E0A3F874-D611-4E4F-A8EE-759B6BD3D200}" type="presParOf" srcId="{548E39BF-3D16-4FA0-806F-A12583432E44}" destId="{D01537A8-DB3F-48BC-9816-2C81E1C2DE94}" srcOrd="2" destOrd="0" presId="urn:microsoft.com/office/officeart/2009/3/layout/HorizontalOrganizationChart"/>
    <dgm:cxn modelId="{39815BB3-6C5C-43F3-8510-D79189D83D10}" type="presParOf" srcId="{5AF7821A-E4E4-49F2-8CDD-D8E21E18D6E7}" destId="{07595309-A3B9-48F5-9DA7-A602069CE35A}" srcOrd="5" destOrd="0" presId="urn:microsoft.com/office/officeart/2009/3/layout/HorizontalOrganizationChart"/>
    <dgm:cxn modelId="{E3F99C5E-C226-4031-852C-FB63BB50FFBF}" type="presParOf" srcId="{07595309-A3B9-48F5-9DA7-A602069CE35A}" destId="{974122BA-7B94-445E-9A7E-07E6376AF83F}" srcOrd="0" destOrd="0" presId="urn:microsoft.com/office/officeart/2009/3/layout/HorizontalOrganizationChart"/>
    <dgm:cxn modelId="{1EFEC0AE-6037-44D7-A096-824E4AF67D72}" type="presParOf" srcId="{974122BA-7B94-445E-9A7E-07E6376AF83F}" destId="{1493CCFF-D6F7-4055-977E-E02F35F1D3DE}" srcOrd="0" destOrd="0" presId="urn:microsoft.com/office/officeart/2009/3/layout/HorizontalOrganizationChart"/>
    <dgm:cxn modelId="{150616DA-3D12-4053-A478-D881EAB6A9CD}" type="presParOf" srcId="{974122BA-7B94-445E-9A7E-07E6376AF83F}" destId="{33967DC3-621D-400D-945C-99F4F4EA2AAA}" srcOrd="1" destOrd="0" presId="urn:microsoft.com/office/officeart/2009/3/layout/HorizontalOrganizationChart"/>
    <dgm:cxn modelId="{036CE619-76D7-40F8-AE56-7FA9BAA6152F}" type="presParOf" srcId="{07595309-A3B9-48F5-9DA7-A602069CE35A}" destId="{2859A2DD-E9BA-47AF-AA9B-6FA676AF0567}" srcOrd="1" destOrd="0" presId="urn:microsoft.com/office/officeart/2009/3/layout/HorizontalOrganizationChart"/>
    <dgm:cxn modelId="{E6DF60FC-E229-4C41-98B6-BCD84291EF6C}" type="presParOf" srcId="{2859A2DD-E9BA-47AF-AA9B-6FA676AF0567}" destId="{25C2574F-6633-42E9-9DE8-5FC0DBDAE680}" srcOrd="0" destOrd="0" presId="urn:microsoft.com/office/officeart/2009/3/layout/HorizontalOrganizationChart"/>
    <dgm:cxn modelId="{A26F0A00-5C1A-4C43-8A9D-92094C5A3BEC}" type="presParOf" srcId="{2859A2DD-E9BA-47AF-AA9B-6FA676AF0567}" destId="{91A9D603-466A-43DE-9FD8-208786251578}" srcOrd="1" destOrd="0" presId="urn:microsoft.com/office/officeart/2009/3/layout/HorizontalOrganizationChart"/>
    <dgm:cxn modelId="{F363EF56-F9E5-4AC0-9934-89180871B999}" type="presParOf" srcId="{91A9D603-466A-43DE-9FD8-208786251578}" destId="{52F0CA5A-9A48-40E8-AA0C-44FA35337413}" srcOrd="0" destOrd="0" presId="urn:microsoft.com/office/officeart/2009/3/layout/HorizontalOrganizationChart"/>
    <dgm:cxn modelId="{A4701F16-6344-4BFD-9EF4-7714894F8E2B}" type="presParOf" srcId="{52F0CA5A-9A48-40E8-AA0C-44FA35337413}" destId="{1E5E492B-8977-4BF8-9DC9-D4782DC096AF}" srcOrd="0" destOrd="0" presId="urn:microsoft.com/office/officeart/2009/3/layout/HorizontalOrganizationChart"/>
    <dgm:cxn modelId="{718A4B45-5554-4B04-8C6C-ABD2CE7A1246}" type="presParOf" srcId="{52F0CA5A-9A48-40E8-AA0C-44FA35337413}" destId="{79FC5B86-667A-48F0-BC3B-753A77B62F21}" srcOrd="1" destOrd="0" presId="urn:microsoft.com/office/officeart/2009/3/layout/HorizontalOrganizationChart"/>
    <dgm:cxn modelId="{35E373E1-B62E-4332-9085-34A5E27AE2E9}" type="presParOf" srcId="{91A9D603-466A-43DE-9FD8-208786251578}" destId="{C3FABB16-6986-477C-85AC-837CF6E36880}" srcOrd="1" destOrd="0" presId="urn:microsoft.com/office/officeart/2009/3/layout/HorizontalOrganizationChart"/>
    <dgm:cxn modelId="{5AC53010-C210-4E74-8670-DCD898635925}" type="presParOf" srcId="{91A9D603-466A-43DE-9FD8-208786251578}" destId="{6D803701-C068-41F9-A6E9-21BD3565B757}" srcOrd="2" destOrd="0" presId="urn:microsoft.com/office/officeart/2009/3/layout/HorizontalOrganizationChart"/>
    <dgm:cxn modelId="{4B7B9DE4-83A3-429F-8E6D-1570FA7C881E}" type="presParOf" srcId="{07595309-A3B9-48F5-9DA7-A602069CE35A}" destId="{28492763-9DB5-4240-8B04-43476765A33E}" srcOrd="2" destOrd="0" presId="urn:microsoft.com/office/officeart/2009/3/layout/HorizontalOrganizationChart"/>
    <dgm:cxn modelId="{85BAB07C-49F4-425E-8424-A76A2AE1BE33}" type="presParOf" srcId="{5AF7821A-E4E4-49F2-8CDD-D8E21E18D6E7}" destId="{001948FA-E806-4F89-8051-469D51A0BD45}" srcOrd="6" destOrd="0" presId="urn:microsoft.com/office/officeart/2009/3/layout/HorizontalOrganizationChart"/>
    <dgm:cxn modelId="{C146710B-1078-4093-AA8B-E2B0DC2B4C1F}" type="presParOf" srcId="{001948FA-E806-4F89-8051-469D51A0BD45}" destId="{C8E4005C-8BA0-4418-9345-A28D77BDAD96}" srcOrd="0" destOrd="0" presId="urn:microsoft.com/office/officeart/2009/3/layout/HorizontalOrganizationChart"/>
    <dgm:cxn modelId="{B2F98B28-4463-4D3B-B91B-6895491D9086}" type="presParOf" srcId="{C8E4005C-8BA0-4418-9345-A28D77BDAD96}" destId="{E20FA9AC-5869-494E-B466-F33A9C4E61CA}" srcOrd="0" destOrd="0" presId="urn:microsoft.com/office/officeart/2009/3/layout/HorizontalOrganizationChart"/>
    <dgm:cxn modelId="{D41A96C5-B982-45BC-8645-29042DA39365}" type="presParOf" srcId="{C8E4005C-8BA0-4418-9345-A28D77BDAD96}" destId="{901DDE90-9F46-4960-83B6-2953376473B2}" srcOrd="1" destOrd="0" presId="urn:microsoft.com/office/officeart/2009/3/layout/HorizontalOrganizationChart"/>
    <dgm:cxn modelId="{0C4C56F7-4C9A-4DBF-A43A-D686BFEC3EAE}" type="presParOf" srcId="{001948FA-E806-4F89-8051-469D51A0BD45}" destId="{AA74E880-8463-48A8-92B4-64B031D88D92}" srcOrd="1" destOrd="0" presId="urn:microsoft.com/office/officeart/2009/3/layout/HorizontalOrganizationChart"/>
    <dgm:cxn modelId="{F2F07467-AB59-4D7C-BDB5-1F8464FC571E}" type="presParOf" srcId="{AA74E880-8463-48A8-92B4-64B031D88D92}" destId="{84F78CD9-9F9D-4D64-A026-AF50DDC2F137}" srcOrd="0" destOrd="0" presId="urn:microsoft.com/office/officeart/2009/3/layout/HorizontalOrganizationChart"/>
    <dgm:cxn modelId="{DE62A3A1-E724-4E69-830D-5367B319A6A2}" type="presParOf" srcId="{AA74E880-8463-48A8-92B4-64B031D88D92}" destId="{6ABE3FC4-A456-4536-BC85-D3DED5D8050C}" srcOrd="1" destOrd="0" presId="urn:microsoft.com/office/officeart/2009/3/layout/HorizontalOrganizationChart"/>
    <dgm:cxn modelId="{DD010770-F86A-43DF-AA80-4754EA0C5508}" type="presParOf" srcId="{6ABE3FC4-A456-4536-BC85-D3DED5D8050C}" destId="{C94819F5-2AF4-488E-8BEA-64213FCED75A}" srcOrd="0" destOrd="0" presId="urn:microsoft.com/office/officeart/2009/3/layout/HorizontalOrganizationChart"/>
    <dgm:cxn modelId="{32C9CFF4-0ED2-4FCE-B0A1-B37B2BAECEFC}" type="presParOf" srcId="{C94819F5-2AF4-488E-8BEA-64213FCED75A}" destId="{CE2D37E2-D65F-4650-8433-20B5E5B6F000}" srcOrd="0" destOrd="0" presId="urn:microsoft.com/office/officeart/2009/3/layout/HorizontalOrganizationChart"/>
    <dgm:cxn modelId="{EFA0A3DF-A354-46F7-81D0-1842AE931403}" type="presParOf" srcId="{C94819F5-2AF4-488E-8BEA-64213FCED75A}" destId="{BD66ED11-FD0D-44C4-BB6D-A4A6C065EEC8}" srcOrd="1" destOrd="0" presId="urn:microsoft.com/office/officeart/2009/3/layout/HorizontalOrganizationChart"/>
    <dgm:cxn modelId="{A2623F2D-C28B-428C-87DA-3B4E5F2A6BA2}" type="presParOf" srcId="{6ABE3FC4-A456-4536-BC85-D3DED5D8050C}" destId="{DDE22BA7-45D3-4153-9B63-8E4FA95344F2}" srcOrd="1" destOrd="0" presId="urn:microsoft.com/office/officeart/2009/3/layout/HorizontalOrganizationChart"/>
    <dgm:cxn modelId="{298ED7E0-D3A2-4E49-9481-B7846B13CE04}" type="presParOf" srcId="{6ABE3FC4-A456-4536-BC85-D3DED5D8050C}" destId="{19A0FBA7-678C-4801-A1C8-FDAED942DEEC}" srcOrd="2" destOrd="0" presId="urn:microsoft.com/office/officeart/2009/3/layout/HorizontalOrganizationChart"/>
    <dgm:cxn modelId="{D67C422F-5B56-4926-907A-313C3746C9DA}" type="presParOf" srcId="{001948FA-E806-4F89-8051-469D51A0BD45}" destId="{225835DC-E7D0-4804-AD37-B27C38FB041A}" srcOrd="2" destOrd="0" presId="urn:microsoft.com/office/officeart/2009/3/layout/HorizontalOrganizationChart"/>
    <dgm:cxn modelId="{A8B96EC5-7FD5-48CF-80C3-8E66141F5043}" type="presParOf" srcId="{5AF7821A-E4E4-49F2-8CDD-D8E21E18D6E7}" destId="{3E636D31-33E2-4336-8CE8-48CDB8BE4E4D}" srcOrd="7" destOrd="0" presId="urn:microsoft.com/office/officeart/2009/3/layout/HorizontalOrganizationChart"/>
    <dgm:cxn modelId="{47294D54-8CA3-446B-A29F-F5FDF31CA267}" type="presParOf" srcId="{3E636D31-33E2-4336-8CE8-48CDB8BE4E4D}" destId="{E95A3DCB-4E2D-4D79-8531-81198CC3A830}" srcOrd="0" destOrd="0" presId="urn:microsoft.com/office/officeart/2009/3/layout/HorizontalOrganizationChart"/>
    <dgm:cxn modelId="{1812F83D-C53D-42E8-A33B-07D566DA32CA}" type="presParOf" srcId="{E95A3DCB-4E2D-4D79-8531-81198CC3A830}" destId="{62A470D0-C165-4541-8F24-C466D65C0EB6}" srcOrd="0" destOrd="0" presId="urn:microsoft.com/office/officeart/2009/3/layout/HorizontalOrganizationChart"/>
    <dgm:cxn modelId="{3B8297CA-B112-4F10-800D-08AB680A8AA9}" type="presParOf" srcId="{E95A3DCB-4E2D-4D79-8531-81198CC3A830}" destId="{42787AE4-2E94-4013-BB43-547398F8F0CE}" srcOrd="1" destOrd="0" presId="urn:microsoft.com/office/officeart/2009/3/layout/HorizontalOrganizationChart"/>
    <dgm:cxn modelId="{8F546A81-09B5-4D5E-BFDA-EBBC77910233}" type="presParOf" srcId="{3E636D31-33E2-4336-8CE8-48CDB8BE4E4D}" destId="{A6C8C666-8442-4A88-ABB2-AFE8B1FAD0DC}" srcOrd="1" destOrd="0" presId="urn:microsoft.com/office/officeart/2009/3/layout/HorizontalOrganizationChart"/>
    <dgm:cxn modelId="{5481C518-3672-410C-9C12-80AA2A2F4F80}" type="presParOf" srcId="{A6C8C666-8442-4A88-ABB2-AFE8B1FAD0DC}" destId="{38A77848-2E57-4687-A6E6-6C91FAAE6A5E}" srcOrd="0" destOrd="0" presId="urn:microsoft.com/office/officeart/2009/3/layout/HorizontalOrganizationChart"/>
    <dgm:cxn modelId="{9DF44D86-BF7B-41F0-9A77-CB1025FBE146}" type="presParOf" srcId="{A6C8C666-8442-4A88-ABB2-AFE8B1FAD0DC}" destId="{6E85C9CF-0861-44CD-9DE8-58A371458C38}" srcOrd="1" destOrd="0" presId="urn:microsoft.com/office/officeart/2009/3/layout/HorizontalOrganizationChart"/>
    <dgm:cxn modelId="{F393DC0D-770E-404F-8426-6CEAB017E0E2}" type="presParOf" srcId="{6E85C9CF-0861-44CD-9DE8-58A371458C38}" destId="{46F3797A-E0C5-4AEC-93BF-FA9767EF4119}" srcOrd="0" destOrd="0" presId="urn:microsoft.com/office/officeart/2009/3/layout/HorizontalOrganizationChart"/>
    <dgm:cxn modelId="{FBDAF1BF-5BAF-4B06-967D-FA4B194437AD}" type="presParOf" srcId="{46F3797A-E0C5-4AEC-93BF-FA9767EF4119}" destId="{FF3A130B-52BD-4D32-B131-5AD287958039}" srcOrd="0" destOrd="0" presId="urn:microsoft.com/office/officeart/2009/3/layout/HorizontalOrganizationChart"/>
    <dgm:cxn modelId="{DE58D22F-44CE-4143-AE75-AAAA4D0897C8}" type="presParOf" srcId="{46F3797A-E0C5-4AEC-93BF-FA9767EF4119}" destId="{2627D3DD-04F5-42AD-86C4-9401F0F5DBB9}" srcOrd="1" destOrd="0" presId="urn:microsoft.com/office/officeart/2009/3/layout/HorizontalOrganizationChart"/>
    <dgm:cxn modelId="{8336FB40-8F6C-410B-94BE-239C86FDBD1D}" type="presParOf" srcId="{6E85C9CF-0861-44CD-9DE8-58A371458C38}" destId="{B5906F6A-C862-4C0E-B2AD-B97942DB2557}" srcOrd="1" destOrd="0" presId="urn:microsoft.com/office/officeart/2009/3/layout/HorizontalOrganizationChart"/>
    <dgm:cxn modelId="{C7DE224F-1ADD-4EB4-98C2-EAA7E65267B1}" type="presParOf" srcId="{B5906F6A-C862-4C0E-B2AD-B97942DB2557}" destId="{D2F21566-B71B-4DB4-8B71-6AD821F912EA}" srcOrd="0" destOrd="0" presId="urn:microsoft.com/office/officeart/2009/3/layout/HorizontalOrganizationChart"/>
    <dgm:cxn modelId="{6F9677EA-1162-4A58-B115-EEA532B98B94}" type="presParOf" srcId="{B5906F6A-C862-4C0E-B2AD-B97942DB2557}" destId="{05C39425-8D13-491D-8F03-97313411EC95}" srcOrd="1" destOrd="0" presId="urn:microsoft.com/office/officeart/2009/3/layout/HorizontalOrganizationChart"/>
    <dgm:cxn modelId="{D3408727-4D7F-4812-BF79-F8B352D97F31}" type="presParOf" srcId="{05C39425-8D13-491D-8F03-97313411EC95}" destId="{A76A0B2E-D644-4786-AA52-2112E0D2F8AC}" srcOrd="0" destOrd="0" presId="urn:microsoft.com/office/officeart/2009/3/layout/HorizontalOrganizationChart"/>
    <dgm:cxn modelId="{80D9E26C-893C-4431-9F28-59AFC0AC7C97}" type="presParOf" srcId="{A76A0B2E-D644-4786-AA52-2112E0D2F8AC}" destId="{099675E6-4990-449E-B27E-40BEA05A83D6}" srcOrd="0" destOrd="0" presId="urn:microsoft.com/office/officeart/2009/3/layout/HorizontalOrganizationChart"/>
    <dgm:cxn modelId="{C4DFCA09-446A-4C53-96F9-F7050743EC9F}" type="presParOf" srcId="{A76A0B2E-D644-4786-AA52-2112E0D2F8AC}" destId="{09C3C495-1B83-4181-89F0-E6D3004CEB2F}" srcOrd="1" destOrd="0" presId="urn:microsoft.com/office/officeart/2009/3/layout/HorizontalOrganizationChart"/>
    <dgm:cxn modelId="{27320E58-1C48-4A62-8061-F05816AEABBF}" type="presParOf" srcId="{05C39425-8D13-491D-8F03-97313411EC95}" destId="{D0413F03-A93F-4BB8-9C74-6712ACF2F4D5}" srcOrd="1" destOrd="0" presId="urn:microsoft.com/office/officeart/2009/3/layout/HorizontalOrganizationChart"/>
    <dgm:cxn modelId="{CD0C7B65-4703-4A8E-BE62-DE0D1B389331}" type="presParOf" srcId="{05C39425-8D13-491D-8F03-97313411EC95}" destId="{B362C812-ECE4-48B2-BF24-40B9F2BE0354}" srcOrd="2" destOrd="0" presId="urn:microsoft.com/office/officeart/2009/3/layout/HorizontalOrganizationChart"/>
    <dgm:cxn modelId="{90C134CE-D233-4044-831A-D7E2C600CE0E}" type="presParOf" srcId="{6E85C9CF-0861-44CD-9DE8-58A371458C38}" destId="{C5D3E79A-85EF-47C3-8B87-E7ABF046A42E}" srcOrd="2" destOrd="0" presId="urn:microsoft.com/office/officeart/2009/3/layout/HorizontalOrganizationChart"/>
    <dgm:cxn modelId="{2C51CB92-E5F3-4A0A-9248-EF675C7F4703}" type="presParOf" srcId="{3E636D31-33E2-4336-8CE8-48CDB8BE4E4D}" destId="{620CB1C5-98BD-4E18-8977-4D47B21140C8}" srcOrd="2" destOrd="0" presId="urn:microsoft.com/office/officeart/2009/3/layout/HorizontalOrganizationChart"/>
    <dgm:cxn modelId="{062337FD-1FD1-49B0-A7BF-D3A90F17DF96}" type="presParOf" srcId="{5AF7821A-E4E4-49F2-8CDD-D8E21E18D6E7}" destId="{C1EE2641-92FB-4FA8-B47E-769338925519}" srcOrd="8" destOrd="0" presId="urn:microsoft.com/office/officeart/2009/3/layout/HorizontalOrganizationChart"/>
    <dgm:cxn modelId="{B2CEBD1B-9F0C-42F1-B2C0-896FD01726C1}" type="presParOf" srcId="{C1EE2641-92FB-4FA8-B47E-769338925519}" destId="{450D6038-FE0C-4F37-A841-32C5994283D7}" srcOrd="0" destOrd="0" presId="urn:microsoft.com/office/officeart/2009/3/layout/HorizontalOrganizationChart"/>
    <dgm:cxn modelId="{499EFC22-E32B-4646-B1C7-B519B5C19A0C}" type="presParOf" srcId="{450D6038-FE0C-4F37-A841-32C5994283D7}" destId="{7E49BADF-7699-47C5-82B9-00203BAE3D05}" srcOrd="0" destOrd="0" presId="urn:microsoft.com/office/officeart/2009/3/layout/HorizontalOrganizationChart"/>
    <dgm:cxn modelId="{A8F55DDB-4D33-44E9-9C89-26BDA6CDF843}" type="presParOf" srcId="{450D6038-FE0C-4F37-A841-32C5994283D7}" destId="{099A95EB-AB3B-4D2F-914C-1F080595884C}" srcOrd="1" destOrd="0" presId="urn:microsoft.com/office/officeart/2009/3/layout/HorizontalOrganizationChart"/>
    <dgm:cxn modelId="{C08114C3-B6B7-4103-AED7-92FB1CA1CDF5}" type="presParOf" srcId="{C1EE2641-92FB-4FA8-B47E-769338925519}" destId="{594EBDD6-86A7-40C3-9DAD-446448BE4079}" srcOrd="1" destOrd="0" presId="urn:microsoft.com/office/officeart/2009/3/layout/HorizontalOrganizationChart"/>
    <dgm:cxn modelId="{66C5B591-F18A-47FD-96A2-0E47C100DCE6}" type="presParOf" srcId="{594EBDD6-86A7-40C3-9DAD-446448BE4079}" destId="{3C1A2501-9F7B-4F3E-A068-160271F1438C}" srcOrd="0" destOrd="0" presId="urn:microsoft.com/office/officeart/2009/3/layout/HorizontalOrganizationChart"/>
    <dgm:cxn modelId="{49345A7F-C238-4D56-AD15-E0B0BF04EDE3}" type="presParOf" srcId="{594EBDD6-86A7-40C3-9DAD-446448BE4079}" destId="{327DE797-4EA0-41E1-86CA-767F9898635F}" srcOrd="1" destOrd="0" presId="urn:microsoft.com/office/officeart/2009/3/layout/HorizontalOrganizationChart"/>
    <dgm:cxn modelId="{D21B6BEF-3F3C-4C35-A388-ACE842FAE19E}" type="presParOf" srcId="{327DE797-4EA0-41E1-86CA-767F9898635F}" destId="{3F45AD17-0C92-473F-A804-3945C4F06565}" srcOrd="0" destOrd="0" presId="urn:microsoft.com/office/officeart/2009/3/layout/HorizontalOrganizationChart"/>
    <dgm:cxn modelId="{0E52C74B-BEE6-469C-9801-B3848028F44B}" type="presParOf" srcId="{3F45AD17-0C92-473F-A804-3945C4F06565}" destId="{C59D1964-10A1-4939-9773-3412B26227FF}" srcOrd="0" destOrd="0" presId="urn:microsoft.com/office/officeart/2009/3/layout/HorizontalOrganizationChart"/>
    <dgm:cxn modelId="{9A833449-D6E0-4322-9465-E76AAFB4A365}" type="presParOf" srcId="{3F45AD17-0C92-473F-A804-3945C4F06565}" destId="{CA7DB183-51F4-4ACD-9E08-183539A19133}" srcOrd="1" destOrd="0" presId="urn:microsoft.com/office/officeart/2009/3/layout/HorizontalOrganizationChart"/>
    <dgm:cxn modelId="{CF6910D3-62A4-4D20-B930-D24E91298E4C}" type="presParOf" srcId="{327DE797-4EA0-41E1-86CA-767F9898635F}" destId="{78EF0278-6E18-4943-8E3B-E3820562FE4A}" srcOrd="1" destOrd="0" presId="urn:microsoft.com/office/officeart/2009/3/layout/HorizontalOrganizationChart"/>
    <dgm:cxn modelId="{32C00531-9D5F-49F5-AA1D-7E74EBCDEF68}" type="presParOf" srcId="{78EF0278-6E18-4943-8E3B-E3820562FE4A}" destId="{7B81495F-33BB-448D-B55F-1F3EA6A5E543}" srcOrd="0" destOrd="0" presId="urn:microsoft.com/office/officeart/2009/3/layout/HorizontalOrganizationChart"/>
    <dgm:cxn modelId="{A12AF194-4418-4D0A-8AEC-B1E8C90FC9CF}" type="presParOf" srcId="{78EF0278-6E18-4943-8E3B-E3820562FE4A}" destId="{B867FB84-EC51-4091-B95D-402717C24D78}" srcOrd="1" destOrd="0" presId="urn:microsoft.com/office/officeart/2009/3/layout/HorizontalOrganizationChart"/>
    <dgm:cxn modelId="{D9B48E08-CA37-460F-B513-46BFB0F11048}" type="presParOf" srcId="{B867FB84-EC51-4091-B95D-402717C24D78}" destId="{0BD9BE88-FBB1-4E2B-B3F7-97A38595923A}" srcOrd="0" destOrd="0" presId="urn:microsoft.com/office/officeart/2009/3/layout/HorizontalOrganizationChart"/>
    <dgm:cxn modelId="{B77C9DA1-5BF1-4EAC-BF30-D6F8F7D0CAF3}" type="presParOf" srcId="{0BD9BE88-FBB1-4E2B-B3F7-97A38595923A}" destId="{AB977356-973A-4AF3-B9BD-6DE402EA5DD9}" srcOrd="0" destOrd="0" presId="urn:microsoft.com/office/officeart/2009/3/layout/HorizontalOrganizationChart"/>
    <dgm:cxn modelId="{BEC622FE-F0CA-4D43-A589-02904799FE77}" type="presParOf" srcId="{0BD9BE88-FBB1-4E2B-B3F7-97A38595923A}" destId="{76E5045E-C576-415E-93AD-F4CB348B9F01}" srcOrd="1" destOrd="0" presId="urn:microsoft.com/office/officeart/2009/3/layout/HorizontalOrganizationChart"/>
    <dgm:cxn modelId="{C2C281CB-D5DD-4BB5-9B2B-8BED072989AB}" type="presParOf" srcId="{B867FB84-EC51-4091-B95D-402717C24D78}" destId="{1DB7379D-228B-401B-B249-F2915A61F08B}" srcOrd="1" destOrd="0" presId="urn:microsoft.com/office/officeart/2009/3/layout/HorizontalOrganizationChart"/>
    <dgm:cxn modelId="{8D79E489-9520-4587-A9DB-D97B1AD4E055}" type="presParOf" srcId="{B867FB84-EC51-4091-B95D-402717C24D78}" destId="{7B2B698A-55F0-4A39-BD85-C229B72EF1F8}" srcOrd="2" destOrd="0" presId="urn:microsoft.com/office/officeart/2009/3/layout/HorizontalOrganizationChart"/>
    <dgm:cxn modelId="{FD0E6161-BD65-4714-A85E-AF10A56A7F57}" type="presParOf" srcId="{327DE797-4EA0-41E1-86CA-767F9898635F}" destId="{343A1E0F-0C1C-42F1-AAD3-8EF1FD3F0566}" srcOrd="2" destOrd="0" presId="urn:microsoft.com/office/officeart/2009/3/layout/HorizontalOrganizationChart"/>
    <dgm:cxn modelId="{264564DA-358D-4C41-9AEF-D396C7EF2752}" type="presParOf" srcId="{C1EE2641-92FB-4FA8-B47E-769338925519}" destId="{909D3183-362D-43FC-A432-4A299E00592D}" srcOrd="2" destOrd="0" presId="urn:microsoft.com/office/officeart/2009/3/layout/HorizontalOrganizationChart"/>
    <dgm:cxn modelId="{8CEDB34C-D46C-47E8-8B58-73BDEA3DCEE7}" type="presParOf" srcId="{5AF7821A-E4E4-49F2-8CDD-D8E21E18D6E7}" destId="{C8A5F0C9-5C59-486F-8F5F-8553061CAD05}" srcOrd="9" destOrd="0" presId="urn:microsoft.com/office/officeart/2009/3/layout/HorizontalOrganizationChart"/>
    <dgm:cxn modelId="{D986C9BA-DE12-4521-A957-5F8F9CE0871E}" type="presParOf" srcId="{C8A5F0C9-5C59-486F-8F5F-8553061CAD05}" destId="{2F67D61B-70C4-44EB-AC51-65FB2B8BDB7F}" srcOrd="0" destOrd="0" presId="urn:microsoft.com/office/officeart/2009/3/layout/HorizontalOrganizationChart"/>
    <dgm:cxn modelId="{911DFF7F-DBB6-407B-994D-8D5A77B1BE2D}" type="presParOf" srcId="{2F67D61B-70C4-44EB-AC51-65FB2B8BDB7F}" destId="{55C73A3A-F559-4CFF-B10F-92972CF5F897}" srcOrd="0" destOrd="0" presId="urn:microsoft.com/office/officeart/2009/3/layout/HorizontalOrganizationChart"/>
    <dgm:cxn modelId="{5F79A744-1A5F-40BA-8533-B955EF71025E}" type="presParOf" srcId="{2F67D61B-70C4-44EB-AC51-65FB2B8BDB7F}" destId="{49DB96F7-9AE4-49FD-87C9-C40259A96E40}" srcOrd="1" destOrd="0" presId="urn:microsoft.com/office/officeart/2009/3/layout/HorizontalOrganizationChart"/>
    <dgm:cxn modelId="{C07D6628-0457-41DC-99EF-68643E2416B1}" type="presParOf" srcId="{C8A5F0C9-5C59-486F-8F5F-8553061CAD05}" destId="{34389A6C-1EF5-4545-9455-0B105087F315}" srcOrd="1" destOrd="0" presId="urn:microsoft.com/office/officeart/2009/3/layout/HorizontalOrganizationChart"/>
    <dgm:cxn modelId="{C59DAA72-88E6-4B6D-AA61-9CDD21E8FCCB}" type="presParOf" srcId="{34389A6C-1EF5-4545-9455-0B105087F315}" destId="{6B3A0DF8-B189-4EDA-928D-B026171DAD90}" srcOrd="0" destOrd="0" presId="urn:microsoft.com/office/officeart/2009/3/layout/HorizontalOrganizationChart"/>
    <dgm:cxn modelId="{DFF11F47-E182-4F4D-8F72-E0AFA3D0438F}" type="presParOf" srcId="{34389A6C-1EF5-4545-9455-0B105087F315}" destId="{89732662-3B2A-489A-B02B-FCD4DEA439E2}" srcOrd="1" destOrd="0" presId="urn:microsoft.com/office/officeart/2009/3/layout/HorizontalOrganizationChart"/>
    <dgm:cxn modelId="{E3D1A870-3A51-4D40-A025-397DF1B1085C}" type="presParOf" srcId="{89732662-3B2A-489A-B02B-FCD4DEA439E2}" destId="{140DEE5E-4662-4359-9234-EDFD3DCB0F22}" srcOrd="0" destOrd="0" presId="urn:microsoft.com/office/officeart/2009/3/layout/HorizontalOrganizationChart"/>
    <dgm:cxn modelId="{C599E3FE-C0A9-49B9-9BEF-5CD46A9EC11E}" type="presParOf" srcId="{140DEE5E-4662-4359-9234-EDFD3DCB0F22}" destId="{5BF27B3F-FE56-482B-A094-9C17F8FB509D}" srcOrd="0" destOrd="0" presId="urn:microsoft.com/office/officeart/2009/3/layout/HorizontalOrganizationChart"/>
    <dgm:cxn modelId="{6C500E0A-84F0-4467-AD63-DF9B9FCF13AF}" type="presParOf" srcId="{140DEE5E-4662-4359-9234-EDFD3DCB0F22}" destId="{B8929FA0-BEFA-4848-9504-7E7AAEB252D6}" srcOrd="1" destOrd="0" presId="urn:microsoft.com/office/officeart/2009/3/layout/HorizontalOrganizationChart"/>
    <dgm:cxn modelId="{C6A68692-5786-45FD-9139-B4EE31466333}" type="presParOf" srcId="{89732662-3B2A-489A-B02B-FCD4DEA439E2}" destId="{17C4491F-FDEB-4F3B-AE4F-C26235B7C948}" srcOrd="1" destOrd="0" presId="urn:microsoft.com/office/officeart/2009/3/layout/HorizontalOrganizationChart"/>
    <dgm:cxn modelId="{E25E51B3-402F-4FE6-976A-3E3756EFD3D7}" type="presParOf" srcId="{89732662-3B2A-489A-B02B-FCD4DEA439E2}" destId="{7A97E6B7-C977-4882-A72D-DE86A9550DE1}" srcOrd="2" destOrd="0" presId="urn:microsoft.com/office/officeart/2009/3/layout/HorizontalOrganizationChart"/>
    <dgm:cxn modelId="{6245B5AA-CF8F-4FAA-8705-F470C37043BC}" type="presParOf" srcId="{C8A5F0C9-5C59-486F-8F5F-8553061CAD05}" destId="{94EDDE7F-9969-4222-AA2E-4F6D07FF390D}" srcOrd="2" destOrd="0" presId="urn:microsoft.com/office/officeart/2009/3/layout/HorizontalOrganizationChar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D0D810A-461B-43AB-9074-9E97C0408D20}" type="doc">
      <dgm:prSet loTypeId="urn:microsoft.com/office/officeart/2009/3/layout/HorizontalOrganizationChart" loCatId="hierarchy" qsTypeId="urn:microsoft.com/office/officeart/2005/8/quickstyle/simple1" qsCatId="simple" csTypeId="urn:microsoft.com/office/officeart/2005/8/colors/accent2_2" csCatId="accent2" phldr="1"/>
      <dgm:spPr/>
      <dgm:t>
        <a:bodyPr/>
        <a:lstStyle/>
        <a:p>
          <a:endParaRPr lang="en-US"/>
        </a:p>
      </dgm:t>
    </dgm:pt>
    <dgm:pt modelId="{08EED27D-B691-455A-8D11-8D4400592106}">
      <dgm:prSet phldrT="[Text]" custT="1"/>
      <dgm:spPr>
        <a:solidFill>
          <a:schemeClr val="bg2"/>
        </a:solidFill>
        <a:ln>
          <a:noFill/>
        </a:ln>
      </dgm:spPr>
      <dgm:t>
        <a:bodyPr/>
        <a:lstStyle/>
        <a:p>
          <a:r>
            <a:rPr lang="en-US" sz="1000" b="1" dirty="0"/>
            <a:t>1115 waiver</a:t>
          </a:r>
        </a:p>
      </dgm:t>
    </dgm:pt>
    <dgm:pt modelId="{1BD718C0-8E31-4C02-8936-3DC9E7EB711A}" type="parTrans" cxnId="{A3225DBE-FBF4-4CA6-9910-43E74A7EDDCD}">
      <dgm:prSet/>
      <dgm:spPr/>
      <dgm:t>
        <a:bodyPr/>
        <a:lstStyle/>
        <a:p>
          <a:endParaRPr lang="en-US" sz="1000" b="1"/>
        </a:p>
      </dgm:t>
    </dgm:pt>
    <dgm:pt modelId="{7B5F34EC-77F8-4B43-BB2C-33BBF5B01984}" type="sibTrans" cxnId="{A3225DBE-FBF4-4CA6-9910-43E74A7EDDCD}">
      <dgm:prSet/>
      <dgm:spPr/>
      <dgm:t>
        <a:bodyPr/>
        <a:lstStyle/>
        <a:p>
          <a:endParaRPr lang="en-US" sz="1000" b="1"/>
        </a:p>
      </dgm:t>
    </dgm:pt>
    <dgm:pt modelId="{A0160691-C5F9-44B8-9B17-16C16C30252D}">
      <dgm:prSet phldrT="[Text]" custT="1"/>
      <dgm:spPr>
        <a:solidFill>
          <a:schemeClr val="bg2"/>
        </a:solidFill>
        <a:ln>
          <a:noFill/>
        </a:ln>
      </dgm:spPr>
      <dgm:t>
        <a:bodyPr/>
        <a:lstStyle/>
        <a:p>
          <a:r>
            <a:rPr lang="en-US" sz="1000" b="1" dirty="0"/>
            <a:t>1332 waiver</a:t>
          </a:r>
        </a:p>
      </dgm:t>
    </dgm:pt>
    <dgm:pt modelId="{7C1C211D-DF08-4FA2-A593-3F78C8D74D1E}" type="parTrans" cxnId="{D66B2423-EA40-4AD3-8D39-8A788F41731C}">
      <dgm:prSet/>
      <dgm:spPr/>
      <dgm:t>
        <a:bodyPr/>
        <a:lstStyle/>
        <a:p>
          <a:endParaRPr lang="en-US" sz="1000" b="1"/>
        </a:p>
      </dgm:t>
    </dgm:pt>
    <dgm:pt modelId="{7CA754DD-BCA3-484D-948A-4898820E12A5}" type="sibTrans" cxnId="{D66B2423-EA40-4AD3-8D39-8A788F41731C}">
      <dgm:prSet/>
      <dgm:spPr/>
      <dgm:t>
        <a:bodyPr/>
        <a:lstStyle/>
        <a:p>
          <a:endParaRPr lang="en-US" sz="1000" b="1"/>
        </a:p>
      </dgm:t>
    </dgm:pt>
    <dgm:pt modelId="{25689892-4E7D-40AA-A673-4C1F0CF0FA5A}">
      <dgm:prSet phldrT="[Text]" custT="1"/>
      <dgm:spPr>
        <a:noFill/>
        <a:ln>
          <a:noFill/>
        </a:ln>
      </dgm:spPr>
      <dgm:t>
        <a:bodyPr/>
        <a:lstStyle/>
        <a:p>
          <a:r>
            <a:rPr lang="en-US" sz="1000" b="1" dirty="0">
              <a:solidFill>
                <a:schemeClr val="tx1"/>
              </a:solidFill>
            </a:rPr>
            <a:t>Delay / denied</a:t>
          </a:r>
        </a:p>
      </dgm:t>
    </dgm:pt>
    <dgm:pt modelId="{F777E9C7-1812-46A8-9B44-36F638B989E3}" type="parTrans" cxnId="{F0341BD8-469F-4A6C-83F6-86DEA6671799}">
      <dgm:prSet/>
      <dgm:spPr>
        <a:ln>
          <a:solidFill>
            <a:srgbClr val="FF0000"/>
          </a:solidFill>
          <a:prstDash val="lgDash"/>
          <a:headEnd type="none" w="med" len="med"/>
          <a:tailEnd type="triangle" w="med" len="med"/>
        </a:ln>
      </dgm:spPr>
      <dgm:t>
        <a:bodyPr/>
        <a:lstStyle/>
        <a:p>
          <a:endParaRPr lang="en-US" sz="1000" b="1"/>
        </a:p>
      </dgm:t>
    </dgm:pt>
    <dgm:pt modelId="{32D3F911-C848-4633-AE9B-C684A3E2D4A0}" type="sibTrans" cxnId="{F0341BD8-469F-4A6C-83F6-86DEA6671799}">
      <dgm:prSet/>
      <dgm:spPr/>
      <dgm:t>
        <a:bodyPr/>
        <a:lstStyle/>
        <a:p>
          <a:endParaRPr lang="en-US" sz="1000" b="1"/>
        </a:p>
      </dgm:t>
    </dgm:pt>
    <dgm:pt modelId="{181337CE-57D4-4E7A-A05B-60A37E2377AA}">
      <dgm:prSet phldrT="[Text]" custT="1"/>
      <dgm:spPr>
        <a:noFill/>
        <a:ln>
          <a:noFill/>
        </a:ln>
      </dgm:spPr>
      <dgm:t>
        <a:bodyPr/>
        <a:lstStyle/>
        <a:p>
          <a:r>
            <a:rPr lang="en-US" sz="1000" b="1" dirty="0">
              <a:solidFill>
                <a:schemeClr val="tx1"/>
              </a:solidFill>
            </a:rPr>
            <a:t>Denied (</a:t>
          </a:r>
          <a:r>
            <a:rPr lang="en-US" sz="1000" b="1" u="sng" dirty="0">
              <a:solidFill>
                <a:schemeClr val="tx1"/>
              </a:solidFill>
            </a:rPr>
            <a:t>&lt;1</a:t>
          </a:r>
          <a:r>
            <a:rPr lang="en-US" sz="1000" b="1" dirty="0">
              <a:solidFill>
                <a:schemeClr val="tx1"/>
              </a:solidFill>
            </a:rPr>
            <a:t>80 days)</a:t>
          </a:r>
        </a:p>
      </dgm:t>
    </dgm:pt>
    <dgm:pt modelId="{3935ABD3-BCEB-4366-8068-AF4AC2EC6F86}" type="parTrans" cxnId="{34485087-B5E1-4C7C-A12D-6E4193B5890D}">
      <dgm:prSet/>
      <dgm:spPr>
        <a:ln>
          <a:solidFill>
            <a:schemeClr val="bg2"/>
          </a:solidFill>
          <a:headEnd type="none" w="med" len="med"/>
          <a:tailEnd type="triangle" w="med" len="med"/>
        </a:ln>
      </dgm:spPr>
      <dgm:t>
        <a:bodyPr/>
        <a:lstStyle/>
        <a:p>
          <a:endParaRPr lang="en-US" sz="1000" b="1"/>
        </a:p>
      </dgm:t>
    </dgm:pt>
    <dgm:pt modelId="{DD97806B-124E-472F-8B3E-E5D1562EC24B}" type="sibTrans" cxnId="{34485087-B5E1-4C7C-A12D-6E4193B5890D}">
      <dgm:prSet/>
      <dgm:spPr/>
      <dgm:t>
        <a:bodyPr/>
        <a:lstStyle/>
        <a:p>
          <a:endParaRPr lang="en-US" sz="1000" b="1"/>
        </a:p>
      </dgm:t>
    </dgm:pt>
    <dgm:pt modelId="{85023C2C-452D-4AC9-A6FA-0F9D7138C59C}">
      <dgm:prSet phldrT="[Text]" custT="1"/>
      <dgm:spPr>
        <a:solidFill>
          <a:schemeClr val="bg2"/>
        </a:solidFill>
        <a:ln>
          <a:noFill/>
        </a:ln>
      </dgm:spPr>
      <dgm:t>
        <a:bodyPr/>
        <a:lstStyle/>
        <a:p>
          <a:r>
            <a:rPr lang="en-US" sz="1000" b="1" dirty="0"/>
            <a:t>1332 waiver</a:t>
          </a:r>
        </a:p>
      </dgm:t>
    </dgm:pt>
    <dgm:pt modelId="{4DC8FC01-4200-4F98-B421-C3BD31407BFE}" type="sibTrans" cxnId="{08C03AC3-FB42-491A-8AC3-DAA93AE19A3F}">
      <dgm:prSet/>
      <dgm:spPr/>
      <dgm:t>
        <a:bodyPr/>
        <a:lstStyle/>
        <a:p>
          <a:endParaRPr lang="en-US" sz="1000" b="1"/>
        </a:p>
      </dgm:t>
    </dgm:pt>
    <dgm:pt modelId="{33B9A337-283C-49FE-8E6D-A95BFD1E8030}" type="parTrans" cxnId="{08C03AC3-FB42-491A-8AC3-DAA93AE19A3F}">
      <dgm:prSet/>
      <dgm:spPr/>
      <dgm:t>
        <a:bodyPr/>
        <a:lstStyle/>
        <a:p>
          <a:endParaRPr lang="en-US" sz="1000" b="1"/>
        </a:p>
      </dgm:t>
    </dgm:pt>
    <dgm:pt modelId="{374E3B40-BBBE-480A-AFB4-88D490633E79}">
      <dgm:prSet phldrT="[Text]" custT="1"/>
      <dgm:spPr>
        <a:solidFill>
          <a:schemeClr val="bg2"/>
        </a:solidFill>
        <a:ln>
          <a:noFill/>
        </a:ln>
      </dgm:spPr>
      <dgm:t>
        <a:bodyPr/>
        <a:lstStyle/>
        <a:p>
          <a:r>
            <a:rPr lang="en-US" sz="1000" b="1" dirty="0"/>
            <a:t>1115 waiver</a:t>
          </a:r>
        </a:p>
      </dgm:t>
    </dgm:pt>
    <dgm:pt modelId="{3C2134FB-03F5-408F-A3E8-366E7D03A159}" type="sibTrans" cxnId="{D35A7518-0072-4221-9867-FBFE00A0D2B6}">
      <dgm:prSet/>
      <dgm:spPr/>
      <dgm:t>
        <a:bodyPr/>
        <a:lstStyle/>
        <a:p>
          <a:endParaRPr lang="en-US" sz="1000" b="1"/>
        </a:p>
      </dgm:t>
    </dgm:pt>
    <dgm:pt modelId="{7CD24F9D-E1BB-408F-AAA9-2DE54AABDB4B}" type="parTrans" cxnId="{D35A7518-0072-4221-9867-FBFE00A0D2B6}">
      <dgm:prSet/>
      <dgm:spPr/>
      <dgm:t>
        <a:bodyPr/>
        <a:lstStyle/>
        <a:p>
          <a:endParaRPr lang="en-US" sz="1000" b="1"/>
        </a:p>
      </dgm:t>
    </dgm:pt>
    <dgm:pt modelId="{EF3D876D-3EE3-4D07-AAFA-45A65E67153D}">
      <dgm:prSet phldrT="[Text]" custT="1"/>
      <dgm:spPr>
        <a:noFill/>
        <a:ln>
          <a:noFill/>
        </a:ln>
      </dgm:spPr>
      <dgm:t>
        <a:bodyPr/>
        <a:lstStyle/>
        <a:p>
          <a:r>
            <a:rPr lang="en-US" sz="1000" b="1" dirty="0">
              <a:solidFill>
                <a:schemeClr val="tx1"/>
              </a:solidFill>
            </a:rPr>
            <a:t>Approved</a:t>
          </a:r>
        </a:p>
      </dgm:t>
    </dgm:pt>
    <dgm:pt modelId="{6E609385-C993-4BC2-9C17-F960FE135F9E}" type="parTrans" cxnId="{37262148-BB0F-4AAE-93EB-D71C43F7ABA1}">
      <dgm:prSet/>
      <dgm:spPr>
        <a:ln>
          <a:solidFill>
            <a:srgbClr val="FF0000"/>
          </a:solidFill>
          <a:prstDash val="lgDash"/>
          <a:headEnd type="none" w="med" len="med"/>
          <a:tailEnd type="triangle" w="med" len="med"/>
        </a:ln>
      </dgm:spPr>
      <dgm:t>
        <a:bodyPr/>
        <a:lstStyle/>
        <a:p>
          <a:endParaRPr lang="en-US" sz="1000" b="1">
            <a:ln>
              <a:solidFill>
                <a:srgbClr val="FF0000"/>
              </a:solidFill>
            </a:ln>
          </a:endParaRPr>
        </a:p>
      </dgm:t>
    </dgm:pt>
    <dgm:pt modelId="{4FECF614-695B-4D39-A080-4F84C9ACE92B}" type="sibTrans" cxnId="{37262148-BB0F-4AAE-93EB-D71C43F7ABA1}">
      <dgm:prSet/>
      <dgm:spPr/>
      <dgm:t>
        <a:bodyPr/>
        <a:lstStyle/>
        <a:p>
          <a:endParaRPr lang="en-US" sz="1000" b="1"/>
        </a:p>
      </dgm:t>
    </dgm:pt>
    <dgm:pt modelId="{5CC210C8-5E6E-48F0-8FD0-6A866839FB6B}">
      <dgm:prSet phldrT="[Text]" custT="1"/>
      <dgm:spPr>
        <a:solidFill>
          <a:schemeClr val="bg1">
            <a:lumMod val="50000"/>
          </a:schemeClr>
        </a:solidFill>
        <a:ln>
          <a:noFill/>
        </a:ln>
      </dgm:spPr>
      <dgm:t>
        <a:bodyPr/>
        <a:lstStyle/>
        <a:p>
          <a:r>
            <a:rPr lang="en-US" sz="1000" b="1" dirty="0">
              <a:solidFill>
                <a:schemeClr val="bg1"/>
              </a:solidFill>
            </a:rPr>
            <a:t>State moves to Step 3</a:t>
          </a:r>
        </a:p>
      </dgm:t>
    </dgm:pt>
    <dgm:pt modelId="{A20406A2-2D7C-4A2D-8277-F2D7CFFC3989}" type="parTrans" cxnId="{6D197EFA-E970-4CA7-BFDB-12014368DE9A}">
      <dgm:prSet/>
      <dgm:spPr>
        <a:ln>
          <a:noFill/>
        </a:ln>
      </dgm:spPr>
      <dgm:t>
        <a:bodyPr/>
        <a:lstStyle/>
        <a:p>
          <a:endParaRPr lang="en-US" sz="1000" b="1"/>
        </a:p>
      </dgm:t>
    </dgm:pt>
    <dgm:pt modelId="{C531265A-64F9-4D92-A7AB-716575731EBF}" type="sibTrans" cxnId="{6D197EFA-E970-4CA7-BFDB-12014368DE9A}">
      <dgm:prSet/>
      <dgm:spPr/>
      <dgm:t>
        <a:bodyPr/>
        <a:lstStyle/>
        <a:p>
          <a:endParaRPr lang="en-US" sz="1000" b="1"/>
        </a:p>
      </dgm:t>
    </dgm:pt>
    <dgm:pt modelId="{4E5FFA0C-6510-4201-A7B1-ABD5AEF2D97A}">
      <dgm:prSet phldrT="[Text]" custT="1"/>
      <dgm:spPr>
        <a:noFill/>
        <a:ln>
          <a:noFill/>
        </a:ln>
      </dgm:spPr>
      <dgm:t>
        <a:bodyPr/>
        <a:lstStyle/>
        <a:p>
          <a:r>
            <a:rPr lang="en-US" sz="1000" b="1" dirty="0">
              <a:solidFill>
                <a:schemeClr val="tx1"/>
              </a:solidFill>
            </a:rPr>
            <a:t>Denied (</a:t>
          </a:r>
          <a:r>
            <a:rPr lang="en-US" sz="1000" b="1" u="sng" dirty="0">
              <a:solidFill>
                <a:schemeClr val="tx1"/>
              </a:solidFill>
            </a:rPr>
            <a:t>&lt;</a:t>
          </a:r>
          <a:r>
            <a:rPr lang="en-US" sz="1000" b="1" u="none" dirty="0">
              <a:solidFill>
                <a:schemeClr val="tx1"/>
              </a:solidFill>
            </a:rPr>
            <a:t>1</a:t>
          </a:r>
          <a:r>
            <a:rPr lang="en-US" sz="1000" b="1" dirty="0">
              <a:solidFill>
                <a:schemeClr val="tx1"/>
              </a:solidFill>
            </a:rPr>
            <a:t>80 days)</a:t>
          </a:r>
        </a:p>
      </dgm:t>
    </dgm:pt>
    <dgm:pt modelId="{BC42BC40-0016-4436-879E-4DDC17E681D8}" type="parTrans" cxnId="{34310F64-4E48-4308-BE51-BFDDCE09909A}">
      <dgm:prSet/>
      <dgm:spPr>
        <a:ln>
          <a:solidFill>
            <a:schemeClr val="bg2"/>
          </a:solidFill>
          <a:headEnd type="none" w="med" len="med"/>
          <a:tailEnd type="triangle" w="med" len="med"/>
        </a:ln>
      </dgm:spPr>
      <dgm:t>
        <a:bodyPr/>
        <a:lstStyle/>
        <a:p>
          <a:endParaRPr lang="en-US" sz="1000" b="1"/>
        </a:p>
      </dgm:t>
    </dgm:pt>
    <dgm:pt modelId="{012D8BD1-3B16-42B8-AD19-91B1BF069CC4}" type="sibTrans" cxnId="{34310F64-4E48-4308-BE51-BFDDCE09909A}">
      <dgm:prSet/>
      <dgm:spPr/>
      <dgm:t>
        <a:bodyPr/>
        <a:lstStyle/>
        <a:p>
          <a:endParaRPr lang="en-US" sz="1000" b="1"/>
        </a:p>
      </dgm:t>
    </dgm:pt>
    <dgm:pt modelId="{6C071D51-77B8-4EFD-9FB6-FCEF2ADC1246}">
      <dgm:prSet phldrT="[Text]" custT="1"/>
      <dgm:spPr>
        <a:solidFill>
          <a:schemeClr val="bg2"/>
        </a:solidFill>
        <a:ln>
          <a:noFill/>
        </a:ln>
      </dgm:spPr>
      <dgm:t>
        <a:bodyPr/>
        <a:lstStyle/>
        <a:p>
          <a:r>
            <a:rPr lang="en-US" sz="1000" b="1" dirty="0"/>
            <a:t>1115 waiver</a:t>
          </a:r>
        </a:p>
      </dgm:t>
    </dgm:pt>
    <dgm:pt modelId="{67CD13A7-670A-494B-802B-0388262AD6E5}" type="parTrans" cxnId="{06AA19BF-279A-4678-8A18-94CF30CBAC6D}">
      <dgm:prSet/>
      <dgm:spPr/>
      <dgm:t>
        <a:bodyPr/>
        <a:lstStyle/>
        <a:p>
          <a:endParaRPr lang="en-US" sz="1000" b="1"/>
        </a:p>
      </dgm:t>
    </dgm:pt>
    <dgm:pt modelId="{8C6DB17C-256F-4FB2-AE9B-B54A9AB67051}" type="sibTrans" cxnId="{06AA19BF-279A-4678-8A18-94CF30CBAC6D}">
      <dgm:prSet/>
      <dgm:spPr/>
      <dgm:t>
        <a:bodyPr/>
        <a:lstStyle/>
        <a:p>
          <a:endParaRPr lang="en-US" sz="1000" b="1"/>
        </a:p>
      </dgm:t>
    </dgm:pt>
    <dgm:pt modelId="{FD1DBDAA-A001-4591-8DE7-1CF832D5998F}">
      <dgm:prSet phldrT="[Text]" custT="1"/>
      <dgm:spPr>
        <a:solidFill>
          <a:schemeClr val="bg2"/>
        </a:solidFill>
        <a:ln>
          <a:noFill/>
        </a:ln>
      </dgm:spPr>
      <dgm:t>
        <a:bodyPr/>
        <a:lstStyle/>
        <a:p>
          <a:r>
            <a:rPr lang="en-US" sz="1000" b="1" dirty="0"/>
            <a:t>1332 waiver</a:t>
          </a:r>
        </a:p>
      </dgm:t>
    </dgm:pt>
    <dgm:pt modelId="{455A81A8-DB9B-495F-A246-9BBAD335F952}" type="parTrans" cxnId="{D3A2E22A-915E-439D-9DBE-B4D6BF15E285}">
      <dgm:prSet/>
      <dgm:spPr/>
      <dgm:t>
        <a:bodyPr/>
        <a:lstStyle/>
        <a:p>
          <a:endParaRPr lang="en-US" sz="1000" b="1"/>
        </a:p>
      </dgm:t>
    </dgm:pt>
    <dgm:pt modelId="{B88F5D7E-1B87-474F-BD16-1E52448760E8}" type="sibTrans" cxnId="{D3A2E22A-915E-439D-9DBE-B4D6BF15E285}">
      <dgm:prSet/>
      <dgm:spPr/>
      <dgm:t>
        <a:bodyPr/>
        <a:lstStyle/>
        <a:p>
          <a:endParaRPr lang="en-US" sz="1000" b="1"/>
        </a:p>
      </dgm:t>
    </dgm:pt>
    <dgm:pt modelId="{D54A7B4A-DF66-40C0-906F-D4D32F04FB90}">
      <dgm:prSet phldrT="[Text]" custT="1"/>
      <dgm:spPr>
        <a:noFill/>
        <a:ln>
          <a:noFill/>
        </a:ln>
      </dgm:spPr>
      <dgm:t>
        <a:bodyPr/>
        <a:lstStyle/>
        <a:p>
          <a:r>
            <a:rPr lang="en-US" sz="1000" b="1" dirty="0">
              <a:solidFill>
                <a:schemeClr val="tx1"/>
              </a:solidFill>
            </a:rPr>
            <a:t>Approved (</a:t>
          </a:r>
          <a:r>
            <a:rPr lang="en-US" sz="1000" b="1" u="sng" dirty="0">
              <a:solidFill>
                <a:schemeClr val="tx1"/>
              </a:solidFill>
            </a:rPr>
            <a:t>&lt;</a:t>
          </a:r>
          <a:r>
            <a:rPr lang="en-US" sz="1000" b="1" u="none" dirty="0">
              <a:solidFill>
                <a:schemeClr val="tx1"/>
              </a:solidFill>
            </a:rPr>
            <a:t>1</a:t>
          </a:r>
          <a:r>
            <a:rPr lang="en-US" sz="1000" b="1" dirty="0">
              <a:solidFill>
                <a:schemeClr val="tx1"/>
              </a:solidFill>
            </a:rPr>
            <a:t>80 days)</a:t>
          </a:r>
        </a:p>
      </dgm:t>
    </dgm:pt>
    <dgm:pt modelId="{D7AD2902-6F37-4EB6-B6EC-C1349D73C805}" type="parTrans" cxnId="{8E696739-4710-409E-9F6A-6415847D2AA7}">
      <dgm:prSet/>
      <dgm:spPr>
        <a:ln>
          <a:solidFill>
            <a:schemeClr val="bg2"/>
          </a:solidFill>
          <a:headEnd type="none" w="med" len="med"/>
          <a:tailEnd type="triangle" w="med" len="med"/>
        </a:ln>
      </dgm:spPr>
      <dgm:t>
        <a:bodyPr/>
        <a:lstStyle/>
        <a:p>
          <a:endParaRPr lang="en-US" sz="1000" b="1"/>
        </a:p>
      </dgm:t>
    </dgm:pt>
    <dgm:pt modelId="{7D804DBF-C5C2-48B4-A128-81D9E02AE9AB}" type="sibTrans" cxnId="{8E696739-4710-409E-9F6A-6415847D2AA7}">
      <dgm:prSet/>
      <dgm:spPr/>
      <dgm:t>
        <a:bodyPr/>
        <a:lstStyle/>
        <a:p>
          <a:endParaRPr lang="en-US" sz="1000" b="1"/>
        </a:p>
      </dgm:t>
    </dgm:pt>
    <dgm:pt modelId="{0602ED7E-9C90-492C-B953-EE44638FBB95}">
      <dgm:prSet phldrT="[Text]" custT="1"/>
      <dgm:spPr>
        <a:noFill/>
        <a:ln>
          <a:noFill/>
        </a:ln>
      </dgm:spPr>
      <dgm:t>
        <a:bodyPr/>
        <a:lstStyle/>
        <a:p>
          <a:r>
            <a:rPr lang="en-US" sz="1000" b="1" dirty="0">
              <a:solidFill>
                <a:schemeClr val="tx1"/>
              </a:solidFill>
            </a:rPr>
            <a:t>Approved</a:t>
          </a:r>
        </a:p>
      </dgm:t>
    </dgm:pt>
    <dgm:pt modelId="{E5F8A749-E885-42C9-B9EE-5E6294529BB1}" type="parTrans" cxnId="{A464C615-08A4-4308-9D31-176CD272EFC4}">
      <dgm:prSet/>
      <dgm:spPr>
        <a:ln>
          <a:solidFill>
            <a:srgbClr val="FF0000"/>
          </a:solidFill>
          <a:prstDash val="lgDash"/>
          <a:headEnd type="none" w="med" len="med"/>
          <a:tailEnd type="triangle" w="med" len="med"/>
        </a:ln>
      </dgm:spPr>
      <dgm:t>
        <a:bodyPr/>
        <a:lstStyle/>
        <a:p>
          <a:endParaRPr lang="en-US" sz="1000" b="1"/>
        </a:p>
      </dgm:t>
    </dgm:pt>
    <dgm:pt modelId="{8CBAE86F-2481-427D-A7BB-5410C2C474AF}" type="sibTrans" cxnId="{A464C615-08A4-4308-9D31-176CD272EFC4}">
      <dgm:prSet/>
      <dgm:spPr/>
      <dgm:t>
        <a:bodyPr/>
        <a:lstStyle/>
        <a:p>
          <a:endParaRPr lang="en-US" sz="1000" b="1"/>
        </a:p>
      </dgm:t>
    </dgm:pt>
    <dgm:pt modelId="{AD6FBD3B-8A7D-4317-BB75-D2A9592FB8BE}">
      <dgm:prSet phldrT="[Text]" custT="1"/>
      <dgm:spPr>
        <a:solidFill>
          <a:srgbClr val="00B050"/>
        </a:solidFill>
        <a:ln>
          <a:noFill/>
        </a:ln>
      </dgm:spPr>
      <dgm:t>
        <a:bodyPr/>
        <a:lstStyle/>
        <a:p>
          <a:r>
            <a:rPr lang="en-US" sz="1000" b="1" dirty="0"/>
            <a:t>Expansion effective once waiver approved, if on or after 01/01/2021</a:t>
          </a:r>
        </a:p>
      </dgm:t>
    </dgm:pt>
    <dgm:pt modelId="{1DF9E748-BE9E-4485-997D-1484062506CD}" type="parTrans" cxnId="{3F98450E-CE74-402F-B147-B71B24C6FB18}">
      <dgm:prSet/>
      <dgm:spPr>
        <a:ln>
          <a:noFill/>
        </a:ln>
      </dgm:spPr>
      <dgm:t>
        <a:bodyPr/>
        <a:lstStyle/>
        <a:p>
          <a:endParaRPr lang="en-US" sz="1000" b="1"/>
        </a:p>
      </dgm:t>
    </dgm:pt>
    <dgm:pt modelId="{791C9EC4-B42B-4F06-BD72-5A1377A347A4}" type="sibTrans" cxnId="{3F98450E-CE74-402F-B147-B71B24C6FB18}">
      <dgm:prSet/>
      <dgm:spPr/>
      <dgm:t>
        <a:bodyPr/>
        <a:lstStyle/>
        <a:p>
          <a:endParaRPr lang="en-US" sz="1000" b="1"/>
        </a:p>
      </dgm:t>
    </dgm:pt>
    <dgm:pt modelId="{3AFB4E32-1F59-4D07-BCF8-91DA61B65CFA}">
      <dgm:prSet phldrT="[Text]" custT="1"/>
      <dgm:spPr>
        <a:solidFill>
          <a:schemeClr val="bg2"/>
        </a:solidFill>
        <a:ln>
          <a:noFill/>
        </a:ln>
      </dgm:spPr>
      <dgm:t>
        <a:bodyPr/>
        <a:lstStyle/>
        <a:p>
          <a:r>
            <a:rPr lang="en-US" sz="1000" b="1" dirty="0"/>
            <a:t>1115 waiver</a:t>
          </a:r>
        </a:p>
      </dgm:t>
    </dgm:pt>
    <dgm:pt modelId="{021CF996-4CCE-4B2D-8851-2772864BBF67}" type="parTrans" cxnId="{07BA3194-9F98-4565-9B7D-45A9D4AA9D58}">
      <dgm:prSet/>
      <dgm:spPr/>
      <dgm:t>
        <a:bodyPr/>
        <a:lstStyle/>
        <a:p>
          <a:endParaRPr lang="en-US" sz="1000" b="1"/>
        </a:p>
      </dgm:t>
    </dgm:pt>
    <dgm:pt modelId="{6CBD2151-A96C-4245-80F1-24AEAD8E22AC}" type="sibTrans" cxnId="{07BA3194-9F98-4565-9B7D-45A9D4AA9D58}">
      <dgm:prSet/>
      <dgm:spPr/>
      <dgm:t>
        <a:bodyPr/>
        <a:lstStyle/>
        <a:p>
          <a:endParaRPr lang="en-US" sz="1000" b="1"/>
        </a:p>
      </dgm:t>
    </dgm:pt>
    <dgm:pt modelId="{29E6D98C-7CD3-4CEA-9EFA-45A1CA2D803A}">
      <dgm:prSet phldrT="[Text]" custT="1"/>
      <dgm:spPr>
        <a:noFill/>
        <a:ln>
          <a:noFill/>
        </a:ln>
      </dgm:spPr>
      <dgm:t>
        <a:bodyPr/>
        <a:lstStyle/>
        <a:p>
          <a:r>
            <a:rPr lang="en-US" sz="1000" b="1" dirty="0">
              <a:solidFill>
                <a:schemeClr val="tx1"/>
              </a:solidFill>
            </a:rPr>
            <a:t>Denied</a:t>
          </a:r>
        </a:p>
      </dgm:t>
    </dgm:pt>
    <dgm:pt modelId="{DEC05715-FEDF-4412-9AD5-B59AB6420D07}" type="parTrans" cxnId="{A1D3D487-6284-42A5-BD9A-173CE5CCC61B}">
      <dgm:prSet/>
      <dgm:spPr>
        <a:ln>
          <a:solidFill>
            <a:srgbClr val="FF0000"/>
          </a:solidFill>
          <a:prstDash val="lgDash"/>
          <a:headEnd type="none" w="med" len="med"/>
          <a:tailEnd type="triangle" w="med" len="med"/>
        </a:ln>
      </dgm:spPr>
      <dgm:t>
        <a:bodyPr/>
        <a:lstStyle/>
        <a:p>
          <a:endParaRPr lang="en-US" sz="1000" b="1"/>
        </a:p>
      </dgm:t>
    </dgm:pt>
    <dgm:pt modelId="{AFD93C40-7DEA-4C8D-96E6-A850EDB6579A}" type="sibTrans" cxnId="{A1D3D487-6284-42A5-BD9A-173CE5CCC61B}">
      <dgm:prSet/>
      <dgm:spPr/>
      <dgm:t>
        <a:bodyPr/>
        <a:lstStyle/>
        <a:p>
          <a:endParaRPr lang="en-US" sz="1000" b="1"/>
        </a:p>
      </dgm:t>
    </dgm:pt>
    <dgm:pt modelId="{F64980BF-4994-4AE5-B82B-FE016BD703AC}">
      <dgm:prSet phldrT="[Text]" custT="1"/>
      <dgm:spPr>
        <a:solidFill>
          <a:schemeClr val="bg2"/>
        </a:solidFill>
        <a:ln>
          <a:noFill/>
        </a:ln>
      </dgm:spPr>
      <dgm:t>
        <a:bodyPr/>
        <a:lstStyle/>
        <a:p>
          <a:r>
            <a:rPr lang="en-US" sz="1000" b="1" dirty="0"/>
            <a:t>1332 waiver</a:t>
          </a:r>
        </a:p>
      </dgm:t>
    </dgm:pt>
    <dgm:pt modelId="{2EEE1247-63DA-44B4-92C6-8C1C591F1E70}" type="parTrans" cxnId="{E0B9178B-13FD-411D-A3C1-B338F7989461}">
      <dgm:prSet/>
      <dgm:spPr/>
      <dgm:t>
        <a:bodyPr/>
        <a:lstStyle/>
        <a:p>
          <a:endParaRPr lang="en-US" sz="1000" b="1"/>
        </a:p>
      </dgm:t>
    </dgm:pt>
    <dgm:pt modelId="{1E425069-9ECA-439D-B69A-AA27C7DAC8D6}" type="sibTrans" cxnId="{E0B9178B-13FD-411D-A3C1-B338F7989461}">
      <dgm:prSet/>
      <dgm:spPr/>
      <dgm:t>
        <a:bodyPr/>
        <a:lstStyle/>
        <a:p>
          <a:endParaRPr lang="en-US" sz="1000" b="1"/>
        </a:p>
      </dgm:t>
    </dgm:pt>
    <dgm:pt modelId="{E42E812B-A53E-410B-ACAF-65B89C809D9A}">
      <dgm:prSet phldrT="[Text]" custT="1"/>
      <dgm:spPr>
        <a:noFill/>
        <a:ln>
          <a:noFill/>
        </a:ln>
      </dgm:spPr>
      <dgm:t>
        <a:bodyPr/>
        <a:lstStyle/>
        <a:p>
          <a:r>
            <a:rPr lang="en-US" sz="1000" b="1" dirty="0">
              <a:solidFill>
                <a:schemeClr val="tx1"/>
              </a:solidFill>
            </a:rPr>
            <a:t>Approved (</a:t>
          </a:r>
          <a:r>
            <a:rPr lang="en-US" sz="1000" b="1" u="sng" dirty="0">
              <a:solidFill>
                <a:schemeClr val="tx1"/>
              </a:solidFill>
            </a:rPr>
            <a:t>&lt;</a:t>
          </a:r>
          <a:r>
            <a:rPr lang="en-US" sz="1000" b="1" u="none" dirty="0">
              <a:solidFill>
                <a:schemeClr val="tx1"/>
              </a:solidFill>
            </a:rPr>
            <a:t>1</a:t>
          </a:r>
          <a:r>
            <a:rPr lang="en-US" sz="1000" b="1" dirty="0">
              <a:solidFill>
                <a:schemeClr val="tx1"/>
              </a:solidFill>
            </a:rPr>
            <a:t>80 days)</a:t>
          </a:r>
        </a:p>
      </dgm:t>
    </dgm:pt>
    <dgm:pt modelId="{A04CD877-1FBB-46AC-B119-4A1F5F1189AD}" type="parTrans" cxnId="{F04B591A-EE28-41BE-972E-8FCBA05EBF3E}">
      <dgm:prSet/>
      <dgm:spPr>
        <a:ln>
          <a:solidFill>
            <a:schemeClr val="bg2"/>
          </a:solidFill>
          <a:headEnd type="none" w="med" len="med"/>
          <a:tailEnd type="triangle" w="med" len="med"/>
        </a:ln>
      </dgm:spPr>
      <dgm:t>
        <a:bodyPr/>
        <a:lstStyle/>
        <a:p>
          <a:endParaRPr lang="en-US" sz="1000" b="1"/>
        </a:p>
      </dgm:t>
    </dgm:pt>
    <dgm:pt modelId="{AC2340BA-0A3A-4980-97F2-6249438EB5BA}" type="sibTrans" cxnId="{F04B591A-EE28-41BE-972E-8FCBA05EBF3E}">
      <dgm:prSet/>
      <dgm:spPr/>
      <dgm:t>
        <a:bodyPr/>
        <a:lstStyle/>
        <a:p>
          <a:endParaRPr lang="en-US" sz="1000" b="1"/>
        </a:p>
      </dgm:t>
    </dgm:pt>
    <dgm:pt modelId="{659AE9CF-DD53-43E5-9868-97D2ED8D2738}">
      <dgm:prSet phldrT="[Text]" custT="1"/>
      <dgm:spPr>
        <a:solidFill>
          <a:schemeClr val="bg1">
            <a:lumMod val="50000"/>
          </a:schemeClr>
        </a:solidFill>
        <a:ln>
          <a:noFill/>
        </a:ln>
      </dgm:spPr>
      <dgm:t>
        <a:bodyPr/>
        <a:lstStyle/>
        <a:p>
          <a:r>
            <a:rPr lang="en-US" sz="1000" b="1" dirty="0">
              <a:solidFill>
                <a:schemeClr val="bg1"/>
              </a:solidFill>
            </a:rPr>
            <a:t>State moves to Step 3</a:t>
          </a:r>
        </a:p>
      </dgm:t>
    </dgm:pt>
    <dgm:pt modelId="{01D5BAF7-61A6-42DD-9DAF-498F6404018D}" type="parTrans" cxnId="{52446098-2E7E-4BF5-A179-97DD94581684}">
      <dgm:prSet/>
      <dgm:spPr>
        <a:ln>
          <a:noFill/>
        </a:ln>
      </dgm:spPr>
      <dgm:t>
        <a:bodyPr/>
        <a:lstStyle/>
        <a:p>
          <a:endParaRPr lang="en-US" sz="1000" b="1"/>
        </a:p>
      </dgm:t>
    </dgm:pt>
    <dgm:pt modelId="{F0F938A9-E8F2-4759-9C0A-EB76C102C3C3}" type="sibTrans" cxnId="{52446098-2E7E-4BF5-A179-97DD94581684}">
      <dgm:prSet/>
      <dgm:spPr/>
      <dgm:t>
        <a:bodyPr/>
        <a:lstStyle/>
        <a:p>
          <a:endParaRPr lang="en-US" sz="1000" b="1"/>
        </a:p>
      </dgm:t>
    </dgm:pt>
    <dgm:pt modelId="{807C3541-FEFF-4420-BA78-60ADD6E3C520}">
      <dgm:prSet custT="1"/>
      <dgm:spPr>
        <a:solidFill>
          <a:schemeClr val="bg2"/>
        </a:solidFill>
        <a:ln>
          <a:noFill/>
        </a:ln>
      </dgm:spPr>
      <dgm:t>
        <a:bodyPr/>
        <a:lstStyle/>
        <a:p>
          <a:r>
            <a:rPr lang="en-US" sz="1000" b="1" dirty="0"/>
            <a:t>1115 waiver</a:t>
          </a:r>
        </a:p>
      </dgm:t>
    </dgm:pt>
    <dgm:pt modelId="{68039E19-AE1C-4E5A-AEFE-CC2A1BE25DBA}" type="parTrans" cxnId="{662DBD0A-8B5E-429E-9CFE-18BE402E797F}">
      <dgm:prSet/>
      <dgm:spPr/>
      <dgm:t>
        <a:bodyPr/>
        <a:lstStyle/>
        <a:p>
          <a:endParaRPr lang="en-US" sz="1000" b="1"/>
        </a:p>
      </dgm:t>
    </dgm:pt>
    <dgm:pt modelId="{2FAE573F-C835-4FE7-8D68-DD646A3E3752}" type="sibTrans" cxnId="{662DBD0A-8B5E-429E-9CFE-18BE402E797F}">
      <dgm:prSet/>
      <dgm:spPr/>
      <dgm:t>
        <a:bodyPr/>
        <a:lstStyle/>
        <a:p>
          <a:endParaRPr lang="en-US" sz="1000" b="1"/>
        </a:p>
      </dgm:t>
    </dgm:pt>
    <dgm:pt modelId="{F19EAA58-7A66-455C-95C0-0562B3DE911B}">
      <dgm:prSet custT="1"/>
      <dgm:spPr>
        <a:solidFill>
          <a:schemeClr val="bg2"/>
        </a:solidFill>
        <a:ln>
          <a:noFill/>
        </a:ln>
      </dgm:spPr>
      <dgm:t>
        <a:bodyPr/>
        <a:lstStyle/>
        <a:p>
          <a:r>
            <a:rPr lang="en-US" sz="1000" b="1" dirty="0"/>
            <a:t>1332 waiver</a:t>
          </a:r>
        </a:p>
      </dgm:t>
    </dgm:pt>
    <dgm:pt modelId="{DB3E4C0E-AB25-4AE2-8D39-61BB991A52A7}" type="parTrans" cxnId="{0393CB2B-2930-44E4-93AE-941D72D857B6}">
      <dgm:prSet/>
      <dgm:spPr/>
      <dgm:t>
        <a:bodyPr/>
        <a:lstStyle/>
        <a:p>
          <a:endParaRPr lang="en-US" sz="1000" b="1"/>
        </a:p>
      </dgm:t>
    </dgm:pt>
    <dgm:pt modelId="{A5E45FA0-09FF-44DE-B7DF-EE2379CEAC16}" type="sibTrans" cxnId="{0393CB2B-2930-44E4-93AE-941D72D857B6}">
      <dgm:prSet/>
      <dgm:spPr/>
      <dgm:t>
        <a:bodyPr/>
        <a:lstStyle/>
        <a:p>
          <a:endParaRPr lang="en-US" sz="1000" b="1"/>
        </a:p>
      </dgm:t>
    </dgm:pt>
    <dgm:pt modelId="{D8A68DFF-3DE5-415D-BA59-2010C696728C}">
      <dgm:prSet custT="1"/>
      <dgm:spPr>
        <a:noFill/>
        <a:ln>
          <a:noFill/>
        </a:ln>
      </dgm:spPr>
      <dgm:t>
        <a:bodyPr/>
        <a:lstStyle/>
        <a:p>
          <a:r>
            <a:rPr lang="en-US" sz="1000" b="1" dirty="0">
              <a:solidFill>
                <a:schemeClr val="tx1"/>
              </a:solidFill>
            </a:rPr>
            <a:t>Approved (</a:t>
          </a:r>
          <a:r>
            <a:rPr lang="en-US" sz="1000" b="1" u="sng" dirty="0">
              <a:solidFill>
                <a:schemeClr val="tx1"/>
              </a:solidFill>
            </a:rPr>
            <a:t>&lt;</a:t>
          </a:r>
          <a:r>
            <a:rPr lang="en-US" sz="1000" b="1" u="none" dirty="0">
              <a:solidFill>
                <a:schemeClr val="tx1"/>
              </a:solidFill>
            </a:rPr>
            <a:t>1</a:t>
          </a:r>
          <a:r>
            <a:rPr lang="en-US" sz="1000" b="1" dirty="0">
              <a:solidFill>
                <a:schemeClr val="tx1"/>
              </a:solidFill>
            </a:rPr>
            <a:t>80 days)</a:t>
          </a:r>
          <a:endParaRPr lang="en-US" sz="1000" b="1" u="sng" dirty="0">
            <a:solidFill>
              <a:schemeClr val="tx1"/>
            </a:solidFill>
          </a:endParaRPr>
        </a:p>
      </dgm:t>
    </dgm:pt>
    <dgm:pt modelId="{6A54F4F7-F7B2-4ABF-9F73-FF9540FF4C80}" type="parTrans" cxnId="{3C8CAA45-248A-4ADF-93F8-F4CA8D96E11D}">
      <dgm:prSet/>
      <dgm:spPr>
        <a:ln>
          <a:solidFill>
            <a:schemeClr val="bg2"/>
          </a:solidFill>
          <a:headEnd type="none" w="med" len="med"/>
          <a:tailEnd type="triangle" w="med" len="med"/>
        </a:ln>
      </dgm:spPr>
      <dgm:t>
        <a:bodyPr/>
        <a:lstStyle/>
        <a:p>
          <a:endParaRPr lang="en-US" sz="1000" b="1"/>
        </a:p>
      </dgm:t>
    </dgm:pt>
    <dgm:pt modelId="{6C1BC2E9-4C37-410D-85D5-5F7E77A32D3C}" type="sibTrans" cxnId="{3C8CAA45-248A-4ADF-93F8-F4CA8D96E11D}">
      <dgm:prSet/>
      <dgm:spPr/>
      <dgm:t>
        <a:bodyPr/>
        <a:lstStyle/>
        <a:p>
          <a:endParaRPr lang="en-US" sz="1000" b="1"/>
        </a:p>
      </dgm:t>
    </dgm:pt>
    <dgm:pt modelId="{3198FF5D-F14A-4BEE-8017-5953967D90B8}">
      <dgm:prSet custT="1"/>
      <dgm:spPr>
        <a:noFill/>
        <a:ln>
          <a:noFill/>
        </a:ln>
      </dgm:spPr>
      <dgm:t>
        <a:bodyPr/>
        <a:lstStyle/>
        <a:p>
          <a:r>
            <a:rPr lang="en-US" sz="1000" b="1" dirty="0">
              <a:solidFill>
                <a:schemeClr val="tx1"/>
              </a:solidFill>
            </a:rPr>
            <a:t>Delay</a:t>
          </a:r>
        </a:p>
      </dgm:t>
    </dgm:pt>
    <dgm:pt modelId="{568A67E8-8B88-4F43-BA34-F10135585D2B}" type="parTrans" cxnId="{ACEB683B-FC52-4AB6-8E02-C021CDB00E93}">
      <dgm:prSet/>
      <dgm:spPr>
        <a:ln>
          <a:solidFill>
            <a:srgbClr val="FF0000"/>
          </a:solidFill>
          <a:prstDash val="lgDash"/>
          <a:headEnd type="none" w="med" len="med"/>
          <a:tailEnd type="triangle" w="med" len="med"/>
        </a:ln>
      </dgm:spPr>
      <dgm:t>
        <a:bodyPr/>
        <a:lstStyle/>
        <a:p>
          <a:endParaRPr lang="en-US" sz="1000" b="1"/>
        </a:p>
      </dgm:t>
    </dgm:pt>
    <dgm:pt modelId="{CC428D1D-7EC0-4636-B64E-74D254EBF2E5}" type="sibTrans" cxnId="{ACEB683B-FC52-4AB6-8E02-C021CDB00E93}">
      <dgm:prSet/>
      <dgm:spPr/>
      <dgm:t>
        <a:bodyPr/>
        <a:lstStyle/>
        <a:p>
          <a:endParaRPr lang="en-US" sz="1000" b="1"/>
        </a:p>
      </dgm:t>
    </dgm:pt>
    <dgm:pt modelId="{95C081EA-E623-4650-8D9D-F9DDE315F8E5}">
      <dgm:prSet phldrT="[Text]" custT="1"/>
      <dgm:spPr>
        <a:solidFill>
          <a:schemeClr val="bg1">
            <a:lumMod val="50000"/>
          </a:schemeClr>
        </a:solidFill>
        <a:ln>
          <a:noFill/>
        </a:ln>
      </dgm:spPr>
      <dgm:t>
        <a:bodyPr/>
        <a:lstStyle/>
        <a:p>
          <a:r>
            <a:rPr lang="en-US" sz="1000" b="1" dirty="0">
              <a:solidFill>
                <a:schemeClr val="bg1"/>
              </a:solidFill>
            </a:rPr>
            <a:t>State moves to Step 3</a:t>
          </a:r>
        </a:p>
      </dgm:t>
    </dgm:pt>
    <dgm:pt modelId="{0854C3F3-3B12-44C3-A3C2-FF2A3971B0EA}" type="sibTrans" cxnId="{1F135081-99B2-499E-AF49-E1B383697C50}">
      <dgm:prSet/>
      <dgm:spPr/>
      <dgm:t>
        <a:bodyPr/>
        <a:lstStyle/>
        <a:p>
          <a:endParaRPr lang="en-US" sz="1000" b="1"/>
        </a:p>
      </dgm:t>
    </dgm:pt>
    <dgm:pt modelId="{B56C1068-89F2-4261-94F2-98377A59CF83}" type="parTrans" cxnId="{1F135081-99B2-499E-AF49-E1B383697C50}">
      <dgm:prSet/>
      <dgm:spPr>
        <a:ln>
          <a:noFill/>
        </a:ln>
      </dgm:spPr>
      <dgm:t>
        <a:bodyPr/>
        <a:lstStyle/>
        <a:p>
          <a:endParaRPr lang="en-US" sz="1000" b="1"/>
        </a:p>
      </dgm:t>
    </dgm:pt>
    <dgm:pt modelId="{8F0F0D30-959A-4B9D-B564-38D42E50F4A6}">
      <dgm:prSet custT="1"/>
      <dgm:spPr>
        <a:solidFill>
          <a:srgbClr val="FFC000"/>
        </a:solidFill>
        <a:ln>
          <a:noFill/>
        </a:ln>
      </dgm:spPr>
      <dgm:t>
        <a:bodyPr/>
        <a:lstStyle/>
        <a:p>
          <a:r>
            <a:rPr lang="en-US" sz="1000" b="1" dirty="0">
              <a:solidFill>
                <a:schemeClr val="tx1"/>
              </a:solidFill>
            </a:rPr>
            <a:t>Delay</a:t>
          </a:r>
        </a:p>
      </dgm:t>
    </dgm:pt>
    <dgm:pt modelId="{AA1F1399-24DD-429F-A4BB-7911C2B8BFFA}" type="parTrans" cxnId="{C9849838-12A6-45D2-BA38-56E5532AE5C2}">
      <dgm:prSet/>
      <dgm:spPr>
        <a:ln>
          <a:noFill/>
        </a:ln>
      </dgm:spPr>
      <dgm:t>
        <a:bodyPr/>
        <a:lstStyle/>
        <a:p>
          <a:endParaRPr lang="en-US" sz="1000" b="1"/>
        </a:p>
      </dgm:t>
    </dgm:pt>
    <dgm:pt modelId="{0C815E20-8AF4-42B1-A7EB-3FE60654EA32}" type="sibTrans" cxnId="{C9849838-12A6-45D2-BA38-56E5532AE5C2}">
      <dgm:prSet/>
      <dgm:spPr/>
      <dgm:t>
        <a:bodyPr/>
        <a:lstStyle/>
        <a:p>
          <a:endParaRPr lang="en-US" sz="1000" b="1"/>
        </a:p>
      </dgm:t>
    </dgm:pt>
    <dgm:pt modelId="{5AF7821A-E4E4-49F2-8CDD-D8E21E18D6E7}" type="pres">
      <dgm:prSet presAssocID="{DD0D810A-461B-43AB-9074-9E97C0408D20}" presName="hierChild1" presStyleCnt="0">
        <dgm:presLayoutVars>
          <dgm:orgChart val="1"/>
          <dgm:chPref val="1"/>
          <dgm:dir/>
          <dgm:animOne val="branch"/>
          <dgm:animLvl val="lvl"/>
          <dgm:resizeHandles/>
        </dgm:presLayoutVars>
      </dgm:prSet>
      <dgm:spPr/>
    </dgm:pt>
    <dgm:pt modelId="{80C2B7DA-1707-47D2-8EFC-5288AE8913B6}" type="pres">
      <dgm:prSet presAssocID="{08EED27D-B691-455A-8D11-8D4400592106}" presName="hierRoot1" presStyleCnt="0">
        <dgm:presLayoutVars>
          <dgm:hierBranch val="init"/>
        </dgm:presLayoutVars>
      </dgm:prSet>
      <dgm:spPr/>
    </dgm:pt>
    <dgm:pt modelId="{6175FF66-8DB8-481C-B9D3-3EA8A4149F44}" type="pres">
      <dgm:prSet presAssocID="{08EED27D-B691-455A-8D11-8D4400592106}" presName="rootComposite1" presStyleCnt="0"/>
      <dgm:spPr/>
    </dgm:pt>
    <dgm:pt modelId="{CA82278E-F451-4EA7-A79E-93E1B57BBB1F}" type="pres">
      <dgm:prSet presAssocID="{08EED27D-B691-455A-8D11-8D4400592106}" presName="rootText1" presStyleLbl="node0" presStyleIdx="0" presStyleCnt="10" custScaleY="87697" custLinFactNeighborX="-44119" custLinFactNeighborY="2197">
        <dgm:presLayoutVars>
          <dgm:chPref val="3"/>
        </dgm:presLayoutVars>
      </dgm:prSet>
      <dgm:spPr>
        <a:prstGeom prst="roundRect">
          <a:avLst/>
        </a:prstGeom>
      </dgm:spPr>
    </dgm:pt>
    <dgm:pt modelId="{34623623-3BE4-45CF-BD25-CAAB9AF090E9}" type="pres">
      <dgm:prSet presAssocID="{08EED27D-B691-455A-8D11-8D4400592106}" presName="rootConnector1" presStyleLbl="node1" presStyleIdx="0" presStyleCnt="0"/>
      <dgm:spPr/>
    </dgm:pt>
    <dgm:pt modelId="{967DC226-F180-4127-893E-63135C92783A}" type="pres">
      <dgm:prSet presAssocID="{08EED27D-B691-455A-8D11-8D4400592106}" presName="hierChild2" presStyleCnt="0"/>
      <dgm:spPr/>
    </dgm:pt>
    <dgm:pt modelId="{138DA514-4305-4324-9DD8-A4E5D22470C0}" type="pres">
      <dgm:prSet presAssocID="{F777E9C7-1812-46A8-9B44-36F638B989E3}" presName="Name64" presStyleLbl="parChTrans1D2" presStyleIdx="0" presStyleCnt="10"/>
      <dgm:spPr/>
    </dgm:pt>
    <dgm:pt modelId="{A529037C-7282-41BC-829D-90E41CBB3114}" type="pres">
      <dgm:prSet presAssocID="{25689892-4E7D-40AA-A673-4C1F0CF0FA5A}" presName="hierRoot2" presStyleCnt="0">
        <dgm:presLayoutVars>
          <dgm:hierBranch val="init"/>
        </dgm:presLayoutVars>
      </dgm:prSet>
      <dgm:spPr/>
    </dgm:pt>
    <dgm:pt modelId="{C8B28FF1-0151-406F-9BD0-E3B77F05369F}" type="pres">
      <dgm:prSet presAssocID="{25689892-4E7D-40AA-A673-4C1F0CF0FA5A}" presName="rootComposite" presStyleCnt="0"/>
      <dgm:spPr/>
    </dgm:pt>
    <dgm:pt modelId="{D4AD3584-CCC7-4C5D-BA2B-08F7C45B2342}" type="pres">
      <dgm:prSet presAssocID="{25689892-4E7D-40AA-A673-4C1F0CF0FA5A}" presName="rootText" presStyleLbl="node2" presStyleIdx="0" presStyleCnt="10" custScaleY="146837" custLinFactNeighborX="72769" custLinFactNeighborY="2197">
        <dgm:presLayoutVars>
          <dgm:chPref val="3"/>
        </dgm:presLayoutVars>
      </dgm:prSet>
      <dgm:spPr>
        <a:prstGeom prst="roundRect">
          <a:avLst/>
        </a:prstGeom>
      </dgm:spPr>
    </dgm:pt>
    <dgm:pt modelId="{51A2BFE9-2CCD-44C6-9C5D-AA2D7B94BF08}" type="pres">
      <dgm:prSet presAssocID="{25689892-4E7D-40AA-A673-4C1F0CF0FA5A}" presName="rootConnector" presStyleLbl="node2" presStyleIdx="0" presStyleCnt="10"/>
      <dgm:spPr/>
    </dgm:pt>
    <dgm:pt modelId="{ABD2552C-D71B-4C5F-AD9C-234A9D45F0AB}" type="pres">
      <dgm:prSet presAssocID="{25689892-4E7D-40AA-A673-4C1F0CF0FA5A}" presName="hierChild4" presStyleCnt="0"/>
      <dgm:spPr/>
    </dgm:pt>
    <dgm:pt modelId="{1D238B17-4702-4BC2-BE36-EB12789119F6}" type="pres">
      <dgm:prSet presAssocID="{B56C1068-89F2-4261-94F2-98377A59CF83}" presName="Name64" presStyleLbl="parChTrans1D3" presStyleIdx="0" presStyleCnt="5"/>
      <dgm:spPr/>
    </dgm:pt>
    <dgm:pt modelId="{004F2797-0A35-4803-A8F6-A10C3F438A71}" type="pres">
      <dgm:prSet presAssocID="{95C081EA-E623-4650-8D9D-F9DDE315F8E5}" presName="hierRoot2" presStyleCnt="0">
        <dgm:presLayoutVars>
          <dgm:hierBranch val="init"/>
        </dgm:presLayoutVars>
      </dgm:prSet>
      <dgm:spPr/>
    </dgm:pt>
    <dgm:pt modelId="{177DA025-CC0E-40EB-81C5-DD183799493A}" type="pres">
      <dgm:prSet presAssocID="{95C081EA-E623-4650-8D9D-F9DDE315F8E5}" presName="rootComposite" presStyleCnt="0"/>
      <dgm:spPr/>
    </dgm:pt>
    <dgm:pt modelId="{0EE0040A-1396-415B-8C01-1232BE958866}" type="pres">
      <dgm:prSet presAssocID="{95C081EA-E623-4650-8D9D-F9DDE315F8E5}" presName="rootText" presStyleLbl="node3" presStyleIdx="0" presStyleCnt="5" custScaleX="179414" custScaleY="227607" custLinFactX="68905" custLinFactNeighborX="100000" custLinFactNeighborY="64947">
        <dgm:presLayoutVars>
          <dgm:chPref val="3"/>
        </dgm:presLayoutVars>
      </dgm:prSet>
      <dgm:spPr>
        <a:prstGeom prst="chevron">
          <a:avLst/>
        </a:prstGeom>
      </dgm:spPr>
    </dgm:pt>
    <dgm:pt modelId="{86C0B054-993D-4151-9D3E-C2A00B395E81}" type="pres">
      <dgm:prSet presAssocID="{95C081EA-E623-4650-8D9D-F9DDE315F8E5}" presName="rootConnector" presStyleLbl="node3" presStyleIdx="0" presStyleCnt="5"/>
      <dgm:spPr/>
    </dgm:pt>
    <dgm:pt modelId="{EBB6F584-BB2C-455C-8241-A86734C8CD05}" type="pres">
      <dgm:prSet presAssocID="{95C081EA-E623-4650-8D9D-F9DDE315F8E5}" presName="hierChild4" presStyleCnt="0"/>
      <dgm:spPr/>
    </dgm:pt>
    <dgm:pt modelId="{52201E78-AF28-46F4-909E-5B63B07F75CF}" type="pres">
      <dgm:prSet presAssocID="{95C081EA-E623-4650-8D9D-F9DDE315F8E5}" presName="hierChild5" presStyleCnt="0"/>
      <dgm:spPr/>
    </dgm:pt>
    <dgm:pt modelId="{50E30CAA-BFDE-437B-B60D-77B70AB889E5}" type="pres">
      <dgm:prSet presAssocID="{25689892-4E7D-40AA-A673-4C1F0CF0FA5A}" presName="hierChild5" presStyleCnt="0"/>
      <dgm:spPr/>
    </dgm:pt>
    <dgm:pt modelId="{CE207384-9C5C-42F5-AA42-3083E271C6CA}" type="pres">
      <dgm:prSet presAssocID="{08EED27D-B691-455A-8D11-8D4400592106}" presName="hierChild3" presStyleCnt="0"/>
      <dgm:spPr/>
    </dgm:pt>
    <dgm:pt modelId="{4BD177F1-71A5-42DC-ADD4-97EB642BC6F7}" type="pres">
      <dgm:prSet presAssocID="{A0160691-C5F9-44B8-9B17-16C16C30252D}" presName="hierRoot1" presStyleCnt="0">
        <dgm:presLayoutVars>
          <dgm:hierBranch val="init"/>
        </dgm:presLayoutVars>
      </dgm:prSet>
      <dgm:spPr/>
    </dgm:pt>
    <dgm:pt modelId="{46DA27E1-06FD-4F4A-A9DF-3CD32D763FE7}" type="pres">
      <dgm:prSet presAssocID="{A0160691-C5F9-44B8-9B17-16C16C30252D}" presName="rootComposite1" presStyleCnt="0"/>
      <dgm:spPr/>
    </dgm:pt>
    <dgm:pt modelId="{EBCCF8B9-6E13-4F0A-BE2A-F8631A1C1FC2}" type="pres">
      <dgm:prSet presAssocID="{A0160691-C5F9-44B8-9B17-16C16C30252D}" presName="rootText1" presStyleLbl="node0" presStyleIdx="1" presStyleCnt="10" custScaleY="87697" custLinFactNeighborX="-44119" custLinFactNeighborY="-66021">
        <dgm:presLayoutVars>
          <dgm:chPref val="3"/>
        </dgm:presLayoutVars>
      </dgm:prSet>
      <dgm:spPr>
        <a:prstGeom prst="roundRect">
          <a:avLst/>
        </a:prstGeom>
      </dgm:spPr>
    </dgm:pt>
    <dgm:pt modelId="{E0713CEF-0EB2-4330-9243-6E22FB263EAB}" type="pres">
      <dgm:prSet presAssocID="{A0160691-C5F9-44B8-9B17-16C16C30252D}" presName="rootConnector1" presStyleLbl="node1" presStyleIdx="0" presStyleCnt="0"/>
      <dgm:spPr/>
    </dgm:pt>
    <dgm:pt modelId="{C1664349-10AB-46D2-94A6-63717898D71D}" type="pres">
      <dgm:prSet presAssocID="{A0160691-C5F9-44B8-9B17-16C16C30252D}" presName="hierChild2" presStyleCnt="0"/>
      <dgm:spPr/>
    </dgm:pt>
    <dgm:pt modelId="{E5C0F204-0BA5-475D-BA78-58C4F5296014}" type="pres">
      <dgm:prSet presAssocID="{3935ABD3-BCEB-4366-8068-AF4AC2EC6F86}" presName="Name64" presStyleLbl="parChTrans1D2" presStyleIdx="1" presStyleCnt="10"/>
      <dgm:spPr/>
    </dgm:pt>
    <dgm:pt modelId="{290712CB-1DDF-4D68-9E5C-7197A0534851}" type="pres">
      <dgm:prSet presAssocID="{181337CE-57D4-4E7A-A05B-60A37E2377AA}" presName="hierRoot2" presStyleCnt="0">
        <dgm:presLayoutVars>
          <dgm:hierBranch val="init"/>
        </dgm:presLayoutVars>
      </dgm:prSet>
      <dgm:spPr/>
    </dgm:pt>
    <dgm:pt modelId="{2E93130A-9444-4D53-BD77-CAA218240F42}" type="pres">
      <dgm:prSet presAssocID="{181337CE-57D4-4E7A-A05B-60A37E2377AA}" presName="rootComposite" presStyleCnt="0"/>
      <dgm:spPr/>
    </dgm:pt>
    <dgm:pt modelId="{B8AA2A11-64AA-4FE4-9F64-0E4D555198E6}" type="pres">
      <dgm:prSet presAssocID="{181337CE-57D4-4E7A-A05B-60A37E2377AA}" presName="rootText" presStyleLbl="node2" presStyleIdx="1" presStyleCnt="10" custScaleY="146837" custLinFactNeighborX="72769" custLinFactNeighborY="-66021">
        <dgm:presLayoutVars>
          <dgm:chPref val="3"/>
        </dgm:presLayoutVars>
      </dgm:prSet>
      <dgm:spPr>
        <a:prstGeom prst="ellipse">
          <a:avLst/>
        </a:prstGeom>
      </dgm:spPr>
    </dgm:pt>
    <dgm:pt modelId="{07A69A87-9540-482A-9996-68EA3C7E714E}" type="pres">
      <dgm:prSet presAssocID="{181337CE-57D4-4E7A-A05B-60A37E2377AA}" presName="rootConnector" presStyleLbl="node2" presStyleIdx="1" presStyleCnt="10"/>
      <dgm:spPr/>
    </dgm:pt>
    <dgm:pt modelId="{AA8EFDEF-8FD8-4933-A2B5-75D59B00BEFE}" type="pres">
      <dgm:prSet presAssocID="{181337CE-57D4-4E7A-A05B-60A37E2377AA}" presName="hierChild4" presStyleCnt="0"/>
      <dgm:spPr/>
    </dgm:pt>
    <dgm:pt modelId="{6023BCC4-6DF0-4399-99E0-F319E9304DD8}" type="pres">
      <dgm:prSet presAssocID="{181337CE-57D4-4E7A-A05B-60A37E2377AA}" presName="hierChild5" presStyleCnt="0"/>
      <dgm:spPr/>
    </dgm:pt>
    <dgm:pt modelId="{8D9E2A64-42B6-41B5-BBB9-2B0527FD2A03}" type="pres">
      <dgm:prSet presAssocID="{A0160691-C5F9-44B8-9B17-16C16C30252D}" presName="hierChild3" presStyleCnt="0"/>
      <dgm:spPr/>
    </dgm:pt>
    <dgm:pt modelId="{8B5217B2-D8A9-4406-95CD-193DFB136C0C}" type="pres">
      <dgm:prSet presAssocID="{374E3B40-BBBE-480A-AFB4-88D490633E79}" presName="hierRoot1" presStyleCnt="0">
        <dgm:presLayoutVars>
          <dgm:hierBranch val="init"/>
        </dgm:presLayoutVars>
      </dgm:prSet>
      <dgm:spPr/>
    </dgm:pt>
    <dgm:pt modelId="{96E018EA-A970-4DA3-830B-5B7BB854B367}" type="pres">
      <dgm:prSet presAssocID="{374E3B40-BBBE-480A-AFB4-88D490633E79}" presName="rootComposite1" presStyleCnt="0"/>
      <dgm:spPr/>
    </dgm:pt>
    <dgm:pt modelId="{9FC8182C-B293-4C29-819C-5B43DEE42D86}" type="pres">
      <dgm:prSet presAssocID="{374E3B40-BBBE-480A-AFB4-88D490633E79}" presName="rootText1" presStyleLbl="node0" presStyleIdx="2" presStyleCnt="10" custScaleY="87697" custLinFactNeighborX="-44119" custLinFactNeighborY="35057">
        <dgm:presLayoutVars>
          <dgm:chPref val="3"/>
        </dgm:presLayoutVars>
      </dgm:prSet>
      <dgm:spPr>
        <a:prstGeom prst="roundRect">
          <a:avLst/>
        </a:prstGeom>
      </dgm:spPr>
    </dgm:pt>
    <dgm:pt modelId="{9F0BEDB9-7DCE-4904-9629-127EC139FFBD}" type="pres">
      <dgm:prSet presAssocID="{374E3B40-BBBE-480A-AFB4-88D490633E79}" presName="rootConnector1" presStyleLbl="node1" presStyleIdx="0" presStyleCnt="0"/>
      <dgm:spPr/>
    </dgm:pt>
    <dgm:pt modelId="{A604F5CC-EA0C-465B-AA09-58BA5C447BF1}" type="pres">
      <dgm:prSet presAssocID="{374E3B40-BBBE-480A-AFB4-88D490633E79}" presName="hierChild2" presStyleCnt="0"/>
      <dgm:spPr/>
    </dgm:pt>
    <dgm:pt modelId="{8FC2B97D-DB59-4737-9207-C815A23BF65E}" type="pres">
      <dgm:prSet presAssocID="{6E609385-C993-4BC2-9C17-F960FE135F9E}" presName="Name64" presStyleLbl="parChTrans1D2" presStyleIdx="2" presStyleCnt="10"/>
      <dgm:spPr/>
    </dgm:pt>
    <dgm:pt modelId="{34A0EE78-3DF5-4909-A7B6-15CBCD97511B}" type="pres">
      <dgm:prSet presAssocID="{EF3D876D-3EE3-4D07-AAFA-45A65E67153D}" presName="hierRoot2" presStyleCnt="0">
        <dgm:presLayoutVars>
          <dgm:hierBranch val="init"/>
        </dgm:presLayoutVars>
      </dgm:prSet>
      <dgm:spPr/>
    </dgm:pt>
    <dgm:pt modelId="{29389128-715E-4BB8-9030-711F62B0656F}" type="pres">
      <dgm:prSet presAssocID="{EF3D876D-3EE3-4D07-AAFA-45A65E67153D}" presName="rootComposite" presStyleCnt="0"/>
      <dgm:spPr/>
    </dgm:pt>
    <dgm:pt modelId="{3F481A9A-E90C-4996-961E-95AB6F4713AE}" type="pres">
      <dgm:prSet presAssocID="{EF3D876D-3EE3-4D07-AAFA-45A65E67153D}" presName="rootText" presStyleLbl="node2" presStyleIdx="2" presStyleCnt="10" custScaleY="146837" custLinFactNeighborX="72769" custLinFactNeighborY="35057">
        <dgm:presLayoutVars>
          <dgm:chPref val="3"/>
        </dgm:presLayoutVars>
      </dgm:prSet>
      <dgm:spPr>
        <a:prstGeom prst="ellipse">
          <a:avLst/>
        </a:prstGeom>
      </dgm:spPr>
    </dgm:pt>
    <dgm:pt modelId="{F8C2BD55-4131-46B1-9C8F-F2A0FB0317A4}" type="pres">
      <dgm:prSet presAssocID="{EF3D876D-3EE3-4D07-AAFA-45A65E67153D}" presName="rootConnector" presStyleLbl="node2" presStyleIdx="2" presStyleCnt="10"/>
      <dgm:spPr/>
    </dgm:pt>
    <dgm:pt modelId="{89649727-9223-4170-8570-F806B1255349}" type="pres">
      <dgm:prSet presAssocID="{EF3D876D-3EE3-4D07-AAFA-45A65E67153D}" presName="hierChild4" presStyleCnt="0"/>
      <dgm:spPr/>
    </dgm:pt>
    <dgm:pt modelId="{13B287E4-143C-46B8-BB97-EE4AB23BB594}" type="pres">
      <dgm:prSet presAssocID="{A20406A2-2D7C-4A2D-8277-F2D7CFFC3989}" presName="Name64" presStyleLbl="parChTrans1D3" presStyleIdx="1" presStyleCnt="5"/>
      <dgm:spPr/>
    </dgm:pt>
    <dgm:pt modelId="{167D6D34-8479-49A9-90D8-463019E5D7C4}" type="pres">
      <dgm:prSet presAssocID="{5CC210C8-5E6E-48F0-8FD0-6A866839FB6B}" presName="hierRoot2" presStyleCnt="0">
        <dgm:presLayoutVars>
          <dgm:hierBranch val="init"/>
        </dgm:presLayoutVars>
      </dgm:prSet>
      <dgm:spPr/>
    </dgm:pt>
    <dgm:pt modelId="{3D41579B-CEFC-4F48-90A9-71177D2BC668}" type="pres">
      <dgm:prSet presAssocID="{5CC210C8-5E6E-48F0-8FD0-6A866839FB6B}" presName="rootComposite" presStyleCnt="0"/>
      <dgm:spPr/>
    </dgm:pt>
    <dgm:pt modelId="{819DBB63-9FFA-4E43-A6FD-4C64089534ED}" type="pres">
      <dgm:prSet presAssocID="{5CC210C8-5E6E-48F0-8FD0-6A866839FB6B}" presName="rootText" presStyleLbl="node3" presStyleIdx="1" presStyleCnt="5" custScaleX="179414" custScaleY="227607" custLinFactX="68905" custLinFactNeighborX="100000" custLinFactNeighborY="70899">
        <dgm:presLayoutVars>
          <dgm:chPref val="3"/>
        </dgm:presLayoutVars>
      </dgm:prSet>
      <dgm:spPr>
        <a:prstGeom prst="chevron">
          <a:avLst/>
        </a:prstGeom>
      </dgm:spPr>
    </dgm:pt>
    <dgm:pt modelId="{61996124-B121-4C46-839E-B33748350A1C}" type="pres">
      <dgm:prSet presAssocID="{5CC210C8-5E6E-48F0-8FD0-6A866839FB6B}" presName="rootConnector" presStyleLbl="node3" presStyleIdx="1" presStyleCnt="5"/>
      <dgm:spPr/>
    </dgm:pt>
    <dgm:pt modelId="{54A2FDD9-E01D-4F18-A735-3C0A31DB24C6}" type="pres">
      <dgm:prSet presAssocID="{5CC210C8-5E6E-48F0-8FD0-6A866839FB6B}" presName="hierChild4" presStyleCnt="0"/>
      <dgm:spPr/>
    </dgm:pt>
    <dgm:pt modelId="{A51272A7-807E-45A4-8542-482B290D118F}" type="pres">
      <dgm:prSet presAssocID="{5CC210C8-5E6E-48F0-8FD0-6A866839FB6B}" presName="hierChild5" presStyleCnt="0"/>
      <dgm:spPr/>
    </dgm:pt>
    <dgm:pt modelId="{012871F6-A4FF-4931-B07F-977EBC7CF012}" type="pres">
      <dgm:prSet presAssocID="{EF3D876D-3EE3-4D07-AAFA-45A65E67153D}" presName="hierChild5" presStyleCnt="0"/>
      <dgm:spPr/>
    </dgm:pt>
    <dgm:pt modelId="{FE254E6B-1A30-45E9-9FD1-F9E71E9C56CB}" type="pres">
      <dgm:prSet presAssocID="{374E3B40-BBBE-480A-AFB4-88D490633E79}" presName="hierChild3" presStyleCnt="0"/>
      <dgm:spPr/>
    </dgm:pt>
    <dgm:pt modelId="{DE52C9D7-1C26-4F2C-8884-F0161087CFEC}" type="pres">
      <dgm:prSet presAssocID="{85023C2C-452D-4AC9-A6FA-0F9D7138C59C}" presName="hierRoot1" presStyleCnt="0">
        <dgm:presLayoutVars>
          <dgm:hierBranch val="init"/>
        </dgm:presLayoutVars>
      </dgm:prSet>
      <dgm:spPr/>
    </dgm:pt>
    <dgm:pt modelId="{2594697B-A8B0-4DF6-9B4B-C4C147C6BFE4}" type="pres">
      <dgm:prSet presAssocID="{85023C2C-452D-4AC9-A6FA-0F9D7138C59C}" presName="rootComposite1" presStyleCnt="0"/>
      <dgm:spPr/>
    </dgm:pt>
    <dgm:pt modelId="{66F839EA-1216-4387-BF5F-361D2D94650D}" type="pres">
      <dgm:prSet presAssocID="{85023C2C-452D-4AC9-A6FA-0F9D7138C59C}" presName="rootText1" presStyleLbl="node0" presStyleIdx="3" presStyleCnt="10" custScaleY="87697" custLinFactNeighborX="-44119" custLinFactNeighborY="-33160">
        <dgm:presLayoutVars>
          <dgm:chPref val="3"/>
        </dgm:presLayoutVars>
      </dgm:prSet>
      <dgm:spPr>
        <a:prstGeom prst="roundRect">
          <a:avLst/>
        </a:prstGeom>
      </dgm:spPr>
    </dgm:pt>
    <dgm:pt modelId="{CFC18B94-4FBA-47CD-ABD6-749462FCC69A}" type="pres">
      <dgm:prSet presAssocID="{85023C2C-452D-4AC9-A6FA-0F9D7138C59C}" presName="rootConnector1" presStyleLbl="node1" presStyleIdx="0" presStyleCnt="0"/>
      <dgm:spPr/>
    </dgm:pt>
    <dgm:pt modelId="{8008F72F-2BF3-4F4B-B1AE-6D23C28FEC3F}" type="pres">
      <dgm:prSet presAssocID="{85023C2C-452D-4AC9-A6FA-0F9D7138C59C}" presName="hierChild2" presStyleCnt="0"/>
      <dgm:spPr/>
    </dgm:pt>
    <dgm:pt modelId="{9484AD96-A6D5-4748-969C-E4B92A970937}" type="pres">
      <dgm:prSet presAssocID="{BC42BC40-0016-4436-879E-4DDC17E681D8}" presName="Name64" presStyleLbl="parChTrans1D2" presStyleIdx="3" presStyleCnt="10"/>
      <dgm:spPr/>
    </dgm:pt>
    <dgm:pt modelId="{F0908C13-C516-4E97-AE4F-A27E3162C72B}" type="pres">
      <dgm:prSet presAssocID="{4E5FFA0C-6510-4201-A7B1-ABD5AEF2D97A}" presName="hierRoot2" presStyleCnt="0">
        <dgm:presLayoutVars>
          <dgm:hierBranch val="init"/>
        </dgm:presLayoutVars>
      </dgm:prSet>
      <dgm:spPr/>
    </dgm:pt>
    <dgm:pt modelId="{2E81F640-154B-4417-B0A9-D6EB5324CCDA}" type="pres">
      <dgm:prSet presAssocID="{4E5FFA0C-6510-4201-A7B1-ABD5AEF2D97A}" presName="rootComposite" presStyleCnt="0"/>
      <dgm:spPr/>
    </dgm:pt>
    <dgm:pt modelId="{20E39DE7-734B-43EE-83E1-5DA2E5DB6F29}" type="pres">
      <dgm:prSet presAssocID="{4E5FFA0C-6510-4201-A7B1-ABD5AEF2D97A}" presName="rootText" presStyleLbl="node2" presStyleIdx="3" presStyleCnt="10" custScaleY="146837" custLinFactNeighborX="72769" custLinFactNeighborY="-33160">
        <dgm:presLayoutVars>
          <dgm:chPref val="3"/>
        </dgm:presLayoutVars>
      </dgm:prSet>
      <dgm:spPr>
        <a:prstGeom prst="ellipse">
          <a:avLst/>
        </a:prstGeom>
      </dgm:spPr>
    </dgm:pt>
    <dgm:pt modelId="{6F1015F1-923E-445D-9DC0-CC0AADDA21B0}" type="pres">
      <dgm:prSet presAssocID="{4E5FFA0C-6510-4201-A7B1-ABD5AEF2D97A}" presName="rootConnector" presStyleLbl="node2" presStyleIdx="3" presStyleCnt="10"/>
      <dgm:spPr/>
    </dgm:pt>
    <dgm:pt modelId="{47F9191B-8921-427D-A218-4B1FA0964AB1}" type="pres">
      <dgm:prSet presAssocID="{4E5FFA0C-6510-4201-A7B1-ABD5AEF2D97A}" presName="hierChild4" presStyleCnt="0"/>
      <dgm:spPr/>
    </dgm:pt>
    <dgm:pt modelId="{3CAB266D-C7D7-412C-A49D-595498C85A94}" type="pres">
      <dgm:prSet presAssocID="{4E5FFA0C-6510-4201-A7B1-ABD5AEF2D97A}" presName="hierChild5" presStyleCnt="0"/>
      <dgm:spPr/>
    </dgm:pt>
    <dgm:pt modelId="{2FCDA872-C4AD-4128-907B-23A336D4CF4F}" type="pres">
      <dgm:prSet presAssocID="{85023C2C-452D-4AC9-A6FA-0F9D7138C59C}" presName="hierChild3" presStyleCnt="0"/>
      <dgm:spPr/>
    </dgm:pt>
    <dgm:pt modelId="{548E39BF-3D16-4FA0-806F-A12583432E44}" type="pres">
      <dgm:prSet presAssocID="{6C071D51-77B8-4EFD-9FB6-FCEF2ADC1246}" presName="hierRoot1" presStyleCnt="0">
        <dgm:presLayoutVars>
          <dgm:hierBranch val="init"/>
        </dgm:presLayoutVars>
      </dgm:prSet>
      <dgm:spPr/>
    </dgm:pt>
    <dgm:pt modelId="{CE63C615-46B4-4681-A9AF-FAB968BA1A11}" type="pres">
      <dgm:prSet presAssocID="{6C071D51-77B8-4EFD-9FB6-FCEF2ADC1246}" presName="rootComposite1" presStyleCnt="0"/>
      <dgm:spPr/>
    </dgm:pt>
    <dgm:pt modelId="{34B92687-26AF-45EB-AA9C-D562FD3F5B8B}" type="pres">
      <dgm:prSet presAssocID="{6C071D51-77B8-4EFD-9FB6-FCEF2ADC1246}" presName="rootText1" presStyleLbl="node0" presStyleIdx="4" presStyleCnt="10" custScaleY="87697" custLinFactNeighborX="-44119" custLinFactNeighborY="67918">
        <dgm:presLayoutVars>
          <dgm:chPref val="3"/>
        </dgm:presLayoutVars>
      </dgm:prSet>
      <dgm:spPr>
        <a:prstGeom prst="roundRect">
          <a:avLst/>
        </a:prstGeom>
      </dgm:spPr>
    </dgm:pt>
    <dgm:pt modelId="{10904998-4AC3-4226-96FF-4468A42FBDAE}" type="pres">
      <dgm:prSet presAssocID="{6C071D51-77B8-4EFD-9FB6-FCEF2ADC1246}" presName="rootConnector1" presStyleLbl="node1" presStyleIdx="0" presStyleCnt="0"/>
      <dgm:spPr/>
    </dgm:pt>
    <dgm:pt modelId="{314849F8-32DF-4E05-86A2-78390C9812CA}" type="pres">
      <dgm:prSet presAssocID="{6C071D51-77B8-4EFD-9FB6-FCEF2ADC1246}" presName="hierChild2" presStyleCnt="0"/>
      <dgm:spPr/>
    </dgm:pt>
    <dgm:pt modelId="{F580550D-7334-4B9E-95B2-51BB673FC8D1}" type="pres">
      <dgm:prSet presAssocID="{E5F8A749-E885-42C9-B9EE-5E6294529BB1}" presName="Name64" presStyleLbl="parChTrans1D2" presStyleIdx="4" presStyleCnt="10"/>
      <dgm:spPr/>
    </dgm:pt>
    <dgm:pt modelId="{5D024D76-02E8-4BC8-B6A7-1ED65FC22934}" type="pres">
      <dgm:prSet presAssocID="{0602ED7E-9C90-492C-B953-EE44638FBB95}" presName="hierRoot2" presStyleCnt="0">
        <dgm:presLayoutVars>
          <dgm:hierBranch val="init"/>
        </dgm:presLayoutVars>
      </dgm:prSet>
      <dgm:spPr/>
    </dgm:pt>
    <dgm:pt modelId="{58B89B0E-A179-4F98-A109-D527ACCA21EB}" type="pres">
      <dgm:prSet presAssocID="{0602ED7E-9C90-492C-B953-EE44638FBB95}" presName="rootComposite" presStyleCnt="0"/>
      <dgm:spPr/>
    </dgm:pt>
    <dgm:pt modelId="{4DA49A07-9EA0-48E0-9D38-EEBB3D0A0EA8}" type="pres">
      <dgm:prSet presAssocID="{0602ED7E-9C90-492C-B953-EE44638FBB95}" presName="rootText" presStyleLbl="node2" presStyleIdx="4" presStyleCnt="10" custScaleY="146837" custLinFactNeighborX="72769" custLinFactNeighborY="67918">
        <dgm:presLayoutVars>
          <dgm:chPref val="3"/>
        </dgm:presLayoutVars>
      </dgm:prSet>
      <dgm:spPr>
        <a:prstGeom prst="ellipse">
          <a:avLst/>
        </a:prstGeom>
      </dgm:spPr>
    </dgm:pt>
    <dgm:pt modelId="{791FDAA3-E3B9-44A0-A506-C5A7896959A9}" type="pres">
      <dgm:prSet presAssocID="{0602ED7E-9C90-492C-B953-EE44638FBB95}" presName="rootConnector" presStyleLbl="node2" presStyleIdx="4" presStyleCnt="10"/>
      <dgm:spPr/>
    </dgm:pt>
    <dgm:pt modelId="{F4BAA4A6-4A8D-4FE3-BE4B-970580080373}" type="pres">
      <dgm:prSet presAssocID="{0602ED7E-9C90-492C-B953-EE44638FBB95}" presName="hierChild4" presStyleCnt="0"/>
      <dgm:spPr/>
    </dgm:pt>
    <dgm:pt modelId="{88CBFC17-B32F-40BB-A01F-845BE2F3B3D2}" type="pres">
      <dgm:prSet presAssocID="{1DF9E748-BE9E-4485-997D-1484062506CD}" presName="Name64" presStyleLbl="parChTrans1D3" presStyleIdx="2" presStyleCnt="5"/>
      <dgm:spPr/>
    </dgm:pt>
    <dgm:pt modelId="{497FC27D-FBFD-40FD-B143-73D58863783C}" type="pres">
      <dgm:prSet presAssocID="{AD6FBD3B-8A7D-4317-BB75-D2A9592FB8BE}" presName="hierRoot2" presStyleCnt="0">
        <dgm:presLayoutVars>
          <dgm:hierBranch val="init"/>
        </dgm:presLayoutVars>
      </dgm:prSet>
      <dgm:spPr/>
    </dgm:pt>
    <dgm:pt modelId="{7A78D83F-1F19-49EA-A692-D8C7154E0D2A}" type="pres">
      <dgm:prSet presAssocID="{AD6FBD3B-8A7D-4317-BB75-D2A9592FB8BE}" presName="rootComposite" presStyleCnt="0"/>
      <dgm:spPr/>
    </dgm:pt>
    <dgm:pt modelId="{185F49BA-0FB4-494E-888E-7DA48969E1D5}" type="pres">
      <dgm:prSet presAssocID="{AD6FBD3B-8A7D-4317-BB75-D2A9592FB8BE}" presName="rootText" presStyleLbl="node3" presStyleIdx="2" presStyleCnt="5" custScaleX="179414" custScaleY="261441" custLinFactX="68905" custLinFactY="38992" custLinFactNeighborX="100000" custLinFactNeighborY="100000">
        <dgm:presLayoutVars>
          <dgm:chPref val="3"/>
        </dgm:presLayoutVars>
      </dgm:prSet>
      <dgm:spPr>
        <a:prstGeom prst="flowChartDisplay">
          <a:avLst/>
        </a:prstGeom>
      </dgm:spPr>
    </dgm:pt>
    <dgm:pt modelId="{B807D448-C164-41F3-952C-4662C5DAB639}" type="pres">
      <dgm:prSet presAssocID="{AD6FBD3B-8A7D-4317-BB75-D2A9592FB8BE}" presName="rootConnector" presStyleLbl="node3" presStyleIdx="2" presStyleCnt="5"/>
      <dgm:spPr/>
    </dgm:pt>
    <dgm:pt modelId="{41C29178-ECF4-45D7-97EE-1D8ED8D70730}" type="pres">
      <dgm:prSet presAssocID="{AD6FBD3B-8A7D-4317-BB75-D2A9592FB8BE}" presName="hierChild4" presStyleCnt="0"/>
      <dgm:spPr/>
    </dgm:pt>
    <dgm:pt modelId="{C84A8BD9-3428-4B7A-98EA-1C0776D2CFCB}" type="pres">
      <dgm:prSet presAssocID="{AD6FBD3B-8A7D-4317-BB75-D2A9592FB8BE}" presName="hierChild5" presStyleCnt="0"/>
      <dgm:spPr/>
    </dgm:pt>
    <dgm:pt modelId="{3EF75164-2C5D-4F1B-95FD-4DE87B539CD2}" type="pres">
      <dgm:prSet presAssocID="{0602ED7E-9C90-492C-B953-EE44638FBB95}" presName="hierChild5" presStyleCnt="0"/>
      <dgm:spPr/>
    </dgm:pt>
    <dgm:pt modelId="{D01537A8-DB3F-48BC-9816-2C81E1C2DE94}" type="pres">
      <dgm:prSet presAssocID="{6C071D51-77B8-4EFD-9FB6-FCEF2ADC1246}" presName="hierChild3" presStyleCnt="0"/>
      <dgm:spPr/>
    </dgm:pt>
    <dgm:pt modelId="{07595309-A3B9-48F5-9DA7-A602069CE35A}" type="pres">
      <dgm:prSet presAssocID="{FD1DBDAA-A001-4591-8DE7-1CF832D5998F}" presName="hierRoot1" presStyleCnt="0">
        <dgm:presLayoutVars>
          <dgm:hierBranch val="init"/>
        </dgm:presLayoutVars>
      </dgm:prSet>
      <dgm:spPr/>
    </dgm:pt>
    <dgm:pt modelId="{974122BA-7B94-445E-9A7E-07E6376AF83F}" type="pres">
      <dgm:prSet presAssocID="{FD1DBDAA-A001-4591-8DE7-1CF832D5998F}" presName="rootComposite1" presStyleCnt="0"/>
      <dgm:spPr/>
    </dgm:pt>
    <dgm:pt modelId="{1493CCFF-D6F7-4055-977E-E02F35F1D3DE}" type="pres">
      <dgm:prSet presAssocID="{FD1DBDAA-A001-4591-8DE7-1CF832D5998F}" presName="rootText1" presStyleLbl="node0" presStyleIdx="5" presStyleCnt="10" custScaleY="87697" custLinFactNeighborX="-44119" custLinFactNeighborY="-299">
        <dgm:presLayoutVars>
          <dgm:chPref val="3"/>
        </dgm:presLayoutVars>
      </dgm:prSet>
      <dgm:spPr>
        <a:prstGeom prst="roundRect">
          <a:avLst/>
        </a:prstGeom>
      </dgm:spPr>
    </dgm:pt>
    <dgm:pt modelId="{33967DC3-621D-400D-945C-99F4F4EA2AAA}" type="pres">
      <dgm:prSet presAssocID="{FD1DBDAA-A001-4591-8DE7-1CF832D5998F}" presName="rootConnector1" presStyleLbl="node1" presStyleIdx="0" presStyleCnt="0"/>
      <dgm:spPr/>
    </dgm:pt>
    <dgm:pt modelId="{2859A2DD-E9BA-47AF-AA9B-6FA676AF0567}" type="pres">
      <dgm:prSet presAssocID="{FD1DBDAA-A001-4591-8DE7-1CF832D5998F}" presName="hierChild2" presStyleCnt="0"/>
      <dgm:spPr/>
    </dgm:pt>
    <dgm:pt modelId="{25C2574F-6633-42E9-9DE8-5FC0DBDAE680}" type="pres">
      <dgm:prSet presAssocID="{D7AD2902-6F37-4EB6-B6EC-C1349D73C805}" presName="Name64" presStyleLbl="parChTrans1D2" presStyleIdx="5" presStyleCnt="10"/>
      <dgm:spPr/>
    </dgm:pt>
    <dgm:pt modelId="{91A9D603-466A-43DE-9FD8-208786251578}" type="pres">
      <dgm:prSet presAssocID="{D54A7B4A-DF66-40C0-906F-D4D32F04FB90}" presName="hierRoot2" presStyleCnt="0">
        <dgm:presLayoutVars>
          <dgm:hierBranch val="init"/>
        </dgm:presLayoutVars>
      </dgm:prSet>
      <dgm:spPr/>
    </dgm:pt>
    <dgm:pt modelId="{52F0CA5A-9A48-40E8-AA0C-44FA35337413}" type="pres">
      <dgm:prSet presAssocID="{D54A7B4A-DF66-40C0-906F-D4D32F04FB90}" presName="rootComposite" presStyleCnt="0"/>
      <dgm:spPr/>
    </dgm:pt>
    <dgm:pt modelId="{1E5E492B-8977-4BF8-9DC9-D4782DC096AF}" type="pres">
      <dgm:prSet presAssocID="{D54A7B4A-DF66-40C0-906F-D4D32F04FB90}" presName="rootText" presStyleLbl="node2" presStyleIdx="5" presStyleCnt="10" custScaleY="146837" custLinFactNeighborX="72769" custLinFactNeighborY="-299">
        <dgm:presLayoutVars>
          <dgm:chPref val="3"/>
        </dgm:presLayoutVars>
      </dgm:prSet>
      <dgm:spPr>
        <a:prstGeom prst="ellipse">
          <a:avLst/>
        </a:prstGeom>
      </dgm:spPr>
    </dgm:pt>
    <dgm:pt modelId="{79FC5B86-667A-48F0-BC3B-753A77B62F21}" type="pres">
      <dgm:prSet presAssocID="{D54A7B4A-DF66-40C0-906F-D4D32F04FB90}" presName="rootConnector" presStyleLbl="node2" presStyleIdx="5" presStyleCnt="10"/>
      <dgm:spPr/>
    </dgm:pt>
    <dgm:pt modelId="{C3FABB16-6986-477C-85AC-837CF6E36880}" type="pres">
      <dgm:prSet presAssocID="{D54A7B4A-DF66-40C0-906F-D4D32F04FB90}" presName="hierChild4" presStyleCnt="0"/>
      <dgm:spPr/>
    </dgm:pt>
    <dgm:pt modelId="{6D803701-C068-41F9-A6E9-21BD3565B757}" type="pres">
      <dgm:prSet presAssocID="{D54A7B4A-DF66-40C0-906F-D4D32F04FB90}" presName="hierChild5" presStyleCnt="0"/>
      <dgm:spPr/>
    </dgm:pt>
    <dgm:pt modelId="{28492763-9DB5-4240-8B04-43476765A33E}" type="pres">
      <dgm:prSet presAssocID="{FD1DBDAA-A001-4591-8DE7-1CF832D5998F}" presName="hierChild3" presStyleCnt="0"/>
      <dgm:spPr/>
    </dgm:pt>
    <dgm:pt modelId="{001948FA-E806-4F89-8051-469D51A0BD45}" type="pres">
      <dgm:prSet presAssocID="{3AFB4E32-1F59-4D07-BCF8-91DA61B65CFA}" presName="hierRoot1" presStyleCnt="0">
        <dgm:presLayoutVars>
          <dgm:hierBranch val="init"/>
        </dgm:presLayoutVars>
      </dgm:prSet>
      <dgm:spPr/>
    </dgm:pt>
    <dgm:pt modelId="{C8E4005C-8BA0-4418-9345-A28D77BDAD96}" type="pres">
      <dgm:prSet presAssocID="{3AFB4E32-1F59-4D07-BCF8-91DA61B65CFA}" presName="rootComposite1" presStyleCnt="0"/>
      <dgm:spPr/>
    </dgm:pt>
    <dgm:pt modelId="{E20FA9AC-5869-494E-B466-F33A9C4E61CA}" type="pres">
      <dgm:prSet presAssocID="{3AFB4E32-1F59-4D07-BCF8-91DA61B65CFA}" presName="rootText1" presStyleLbl="node0" presStyleIdx="6" presStyleCnt="10" custScaleY="87697" custLinFactY="779" custLinFactNeighborX="-44119" custLinFactNeighborY="100000">
        <dgm:presLayoutVars>
          <dgm:chPref val="3"/>
        </dgm:presLayoutVars>
      </dgm:prSet>
      <dgm:spPr>
        <a:prstGeom prst="roundRect">
          <a:avLst/>
        </a:prstGeom>
      </dgm:spPr>
    </dgm:pt>
    <dgm:pt modelId="{901DDE90-9F46-4960-83B6-2953376473B2}" type="pres">
      <dgm:prSet presAssocID="{3AFB4E32-1F59-4D07-BCF8-91DA61B65CFA}" presName="rootConnector1" presStyleLbl="node1" presStyleIdx="0" presStyleCnt="0"/>
      <dgm:spPr/>
    </dgm:pt>
    <dgm:pt modelId="{AA74E880-8463-48A8-92B4-64B031D88D92}" type="pres">
      <dgm:prSet presAssocID="{3AFB4E32-1F59-4D07-BCF8-91DA61B65CFA}" presName="hierChild2" presStyleCnt="0"/>
      <dgm:spPr/>
    </dgm:pt>
    <dgm:pt modelId="{84F78CD9-9F9D-4D64-A026-AF50DDC2F137}" type="pres">
      <dgm:prSet presAssocID="{DEC05715-FEDF-4412-9AD5-B59AB6420D07}" presName="Name64" presStyleLbl="parChTrans1D2" presStyleIdx="6" presStyleCnt="10"/>
      <dgm:spPr/>
    </dgm:pt>
    <dgm:pt modelId="{6ABE3FC4-A456-4536-BC85-D3DED5D8050C}" type="pres">
      <dgm:prSet presAssocID="{29E6D98C-7CD3-4CEA-9EFA-45A1CA2D803A}" presName="hierRoot2" presStyleCnt="0">
        <dgm:presLayoutVars>
          <dgm:hierBranch val="init"/>
        </dgm:presLayoutVars>
      </dgm:prSet>
      <dgm:spPr/>
    </dgm:pt>
    <dgm:pt modelId="{C94819F5-2AF4-488E-8BEA-64213FCED75A}" type="pres">
      <dgm:prSet presAssocID="{29E6D98C-7CD3-4CEA-9EFA-45A1CA2D803A}" presName="rootComposite" presStyleCnt="0"/>
      <dgm:spPr/>
    </dgm:pt>
    <dgm:pt modelId="{CE2D37E2-D65F-4650-8433-20B5E5B6F000}" type="pres">
      <dgm:prSet presAssocID="{29E6D98C-7CD3-4CEA-9EFA-45A1CA2D803A}" presName="rootText" presStyleLbl="node2" presStyleIdx="6" presStyleCnt="10" custScaleY="146837" custLinFactY="779" custLinFactNeighborX="72769" custLinFactNeighborY="100000">
        <dgm:presLayoutVars>
          <dgm:chPref val="3"/>
        </dgm:presLayoutVars>
      </dgm:prSet>
      <dgm:spPr>
        <a:prstGeom prst="ellipse">
          <a:avLst/>
        </a:prstGeom>
      </dgm:spPr>
    </dgm:pt>
    <dgm:pt modelId="{BD66ED11-FD0D-44C4-BB6D-A4A6C065EEC8}" type="pres">
      <dgm:prSet presAssocID="{29E6D98C-7CD3-4CEA-9EFA-45A1CA2D803A}" presName="rootConnector" presStyleLbl="node2" presStyleIdx="6" presStyleCnt="10"/>
      <dgm:spPr/>
    </dgm:pt>
    <dgm:pt modelId="{DDE22BA7-45D3-4153-9B63-8E4FA95344F2}" type="pres">
      <dgm:prSet presAssocID="{29E6D98C-7CD3-4CEA-9EFA-45A1CA2D803A}" presName="hierChild4" presStyleCnt="0"/>
      <dgm:spPr/>
    </dgm:pt>
    <dgm:pt modelId="{19A0FBA7-678C-4801-A1C8-FDAED942DEEC}" type="pres">
      <dgm:prSet presAssocID="{29E6D98C-7CD3-4CEA-9EFA-45A1CA2D803A}" presName="hierChild5" presStyleCnt="0"/>
      <dgm:spPr/>
    </dgm:pt>
    <dgm:pt modelId="{225835DC-E7D0-4804-AD37-B27C38FB041A}" type="pres">
      <dgm:prSet presAssocID="{3AFB4E32-1F59-4D07-BCF8-91DA61B65CFA}" presName="hierChild3" presStyleCnt="0"/>
      <dgm:spPr/>
    </dgm:pt>
    <dgm:pt modelId="{3E636D31-33E2-4336-8CE8-48CDB8BE4E4D}" type="pres">
      <dgm:prSet presAssocID="{F64980BF-4994-4AE5-B82B-FE016BD703AC}" presName="hierRoot1" presStyleCnt="0">
        <dgm:presLayoutVars>
          <dgm:hierBranch val="init"/>
        </dgm:presLayoutVars>
      </dgm:prSet>
      <dgm:spPr/>
    </dgm:pt>
    <dgm:pt modelId="{E95A3DCB-4E2D-4D79-8531-81198CC3A830}" type="pres">
      <dgm:prSet presAssocID="{F64980BF-4994-4AE5-B82B-FE016BD703AC}" presName="rootComposite1" presStyleCnt="0"/>
      <dgm:spPr/>
    </dgm:pt>
    <dgm:pt modelId="{62A470D0-C165-4541-8F24-C466D65C0EB6}" type="pres">
      <dgm:prSet presAssocID="{F64980BF-4994-4AE5-B82B-FE016BD703AC}" presName="rootText1" presStyleLbl="node0" presStyleIdx="7" presStyleCnt="10" custScaleY="87697" custLinFactNeighborX="-44119" custLinFactNeighborY="32562">
        <dgm:presLayoutVars>
          <dgm:chPref val="3"/>
        </dgm:presLayoutVars>
      </dgm:prSet>
      <dgm:spPr>
        <a:prstGeom prst="roundRect">
          <a:avLst/>
        </a:prstGeom>
      </dgm:spPr>
    </dgm:pt>
    <dgm:pt modelId="{42787AE4-2E94-4013-BB43-547398F8F0CE}" type="pres">
      <dgm:prSet presAssocID="{F64980BF-4994-4AE5-B82B-FE016BD703AC}" presName="rootConnector1" presStyleLbl="node1" presStyleIdx="0" presStyleCnt="0"/>
      <dgm:spPr/>
    </dgm:pt>
    <dgm:pt modelId="{A6C8C666-8442-4A88-ABB2-AFE8B1FAD0DC}" type="pres">
      <dgm:prSet presAssocID="{F64980BF-4994-4AE5-B82B-FE016BD703AC}" presName="hierChild2" presStyleCnt="0"/>
      <dgm:spPr/>
    </dgm:pt>
    <dgm:pt modelId="{38A77848-2E57-4687-A6E6-6C91FAAE6A5E}" type="pres">
      <dgm:prSet presAssocID="{A04CD877-1FBB-46AC-B119-4A1F5F1189AD}" presName="Name64" presStyleLbl="parChTrans1D2" presStyleIdx="7" presStyleCnt="10"/>
      <dgm:spPr/>
    </dgm:pt>
    <dgm:pt modelId="{6E85C9CF-0861-44CD-9DE8-58A371458C38}" type="pres">
      <dgm:prSet presAssocID="{E42E812B-A53E-410B-ACAF-65B89C809D9A}" presName="hierRoot2" presStyleCnt="0">
        <dgm:presLayoutVars>
          <dgm:hierBranch val="init"/>
        </dgm:presLayoutVars>
      </dgm:prSet>
      <dgm:spPr/>
    </dgm:pt>
    <dgm:pt modelId="{46F3797A-E0C5-4AEC-93BF-FA9767EF4119}" type="pres">
      <dgm:prSet presAssocID="{E42E812B-A53E-410B-ACAF-65B89C809D9A}" presName="rootComposite" presStyleCnt="0"/>
      <dgm:spPr/>
    </dgm:pt>
    <dgm:pt modelId="{FF3A130B-52BD-4D32-B131-5AD287958039}" type="pres">
      <dgm:prSet presAssocID="{E42E812B-A53E-410B-ACAF-65B89C809D9A}" presName="rootText" presStyleLbl="node2" presStyleIdx="7" presStyleCnt="10" custScaleY="146837" custLinFactNeighborX="72769" custLinFactNeighborY="32562">
        <dgm:presLayoutVars>
          <dgm:chPref val="3"/>
        </dgm:presLayoutVars>
      </dgm:prSet>
      <dgm:spPr>
        <a:prstGeom prst="ellipse">
          <a:avLst/>
        </a:prstGeom>
      </dgm:spPr>
    </dgm:pt>
    <dgm:pt modelId="{2627D3DD-04F5-42AD-86C4-9401F0F5DBB9}" type="pres">
      <dgm:prSet presAssocID="{E42E812B-A53E-410B-ACAF-65B89C809D9A}" presName="rootConnector" presStyleLbl="node2" presStyleIdx="7" presStyleCnt="10"/>
      <dgm:spPr/>
    </dgm:pt>
    <dgm:pt modelId="{B5906F6A-C862-4C0E-B2AD-B97942DB2557}" type="pres">
      <dgm:prSet presAssocID="{E42E812B-A53E-410B-ACAF-65B89C809D9A}" presName="hierChild4" presStyleCnt="0"/>
      <dgm:spPr/>
    </dgm:pt>
    <dgm:pt modelId="{D2F21566-B71B-4DB4-8B71-6AD821F912EA}" type="pres">
      <dgm:prSet presAssocID="{01D5BAF7-61A6-42DD-9DAF-498F6404018D}" presName="Name64" presStyleLbl="parChTrans1D3" presStyleIdx="3" presStyleCnt="5"/>
      <dgm:spPr/>
    </dgm:pt>
    <dgm:pt modelId="{05C39425-8D13-491D-8F03-97313411EC95}" type="pres">
      <dgm:prSet presAssocID="{659AE9CF-DD53-43E5-9868-97D2ED8D2738}" presName="hierRoot2" presStyleCnt="0">
        <dgm:presLayoutVars>
          <dgm:hierBranch val="init"/>
        </dgm:presLayoutVars>
      </dgm:prSet>
      <dgm:spPr/>
    </dgm:pt>
    <dgm:pt modelId="{A76A0B2E-D644-4786-AA52-2112E0D2F8AC}" type="pres">
      <dgm:prSet presAssocID="{659AE9CF-DD53-43E5-9868-97D2ED8D2738}" presName="rootComposite" presStyleCnt="0"/>
      <dgm:spPr/>
    </dgm:pt>
    <dgm:pt modelId="{099675E6-4990-449E-B27E-40BEA05A83D6}" type="pres">
      <dgm:prSet presAssocID="{659AE9CF-DD53-43E5-9868-97D2ED8D2738}" presName="rootText" presStyleLbl="node3" presStyleIdx="3" presStyleCnt="5" custScaleX="179414" custScaleY="227607" custLinFactX="68905" custLinFactNeighborX="100000" custLinFactNeighborY="-36460">
        <dgm:presLayoutVars>
          <dgm:chPref val="3"/>
        </dgm:presLayoutVars>
      </dgm:prSet>
      <dgm:spPr>
        <a:prstGeom prst="chevron">
          <a:avLst/>
        </a:prstGeom>
      </dgm:spPr>
    </dgm:pt>
    <dgm:pt modelId="{09C3C495-1B83-4181-89F0-E6D3004CEB2F}" type="pres">
      <dgm:prSet presAssocID="{659AE9CF-DD53-43E5-9868-97D2ED8D2738}" presName="rootConnector" presStyleLbl="node3" presStyleIdx="3" presStyleCnt="5"/>
      <dgm:spPr/>
    </dgm:pt>
    <dgm:pt modelId="{D0413F03-A93F-4BB8-9C74-6712ACF2F4D5}" type="pres">
      <dgm:prSet presAssocID="{659AE9CF-DD53-43E5-9868-97D2ED8D2738}" presName="hierChild4" presStyleCnt="0"/>
      <dgm:spPr/>
    </dgm:pt>
    <dgm:pt modelId="{B362C812-ECE4-48B2-BF24-40B9F2BE0354}" type="pres">
      <dgm:prSet presAssocID="{659AE9CF-DD53-43E5-9868-97D2ED8D2738}" presName="hierChild5" presStyleCnt="0"/>
      <dgm:spPr/>
    </dgm:pt>
    <dgm:pt modelId="{C5D3E79A-85EF-47C3-8B87-E7ABF046A42E}" type="pres">
      <dgm:prSet presAssocID="{E42E812B-A53E-410B-ACAF-65B89C809D9A}" presName="hierChild5" presStyleCnt="0"/>
      <dgm:spPr/>
    </dgm:pt>
    <dgm:pt modelId="{620CB1C5-98BD-4E18-8977-4D47B21140C8}" type="pres">
      <dgm:prSet presAssocID="{F64980BF-4994-4AE5-B82B-FE016BD703AC}" presName="hierChild3" presStyleCnt="0"/>
      <dgm:spPr/>
    </dgm:pt>
    <dgm:pt modelId="{C1EE2641-92FB-4FA8-B47E-769338925519}" type="pres">
      <dgm:prSet presAssocID="{807C3541-FEFF-4420-BA78-60ADD6E3C520}" presName="hierRoot1" presStyleCnt="0">
        <dgm:presLayoutVars>
          <dgm:hierBranch val="init"/>
        </dgm:presLayoutVars>
      </dgm:prSet>
      <dgm:spPr/>
    </dgm:pt>
    <dgm:pt modelId="{450D6038-FE0C-4F37-A841-32C5994283D7}" type="pres">
      <dgm:prSet presAssocID="{807C3541-FEFF-4420-BA78-60ADD6E3C520}" presName="rootComposite1" presStyleCnt="0"/>
      <dgm:spPr/>
    </dgm:pt>
    <dgm:pt modelId="{7E49BADF-7699-47C5-82B9-00203BAE3D05}" type="pres">
      <dgm:prSet presAssocID="{807C3541-FEFF-4420-BA78-60ADD6E3C520}" presName="rootText1" presStyleLbl="node0" presStyleIdx="8" presStyleCnt="10" custScaleY="87697" custLinFactNeighborX="-44119" custLinFactNeighborY="25637">
        <dgm:presLayoutVars>
          <dgm:chPref val="3"/>
        </dgm:presLayoutVars>
      </dgm:prSet>
      <dgm:spPr>
        <a:prstGeom prst="roundRect">
          <a:avLst/>
        </a:prstGeom>
      </dgm:spPr>
    </dgm:pt>
    <dgm:pt modelId="{099A95EB-AB3B-4D2F-914C-1F080595884C}" type="pres">
      <dgm:prSet presAssocID="{807C3541-FEFF-4420-BA78-60ADD6E3C520}" presName="rootConnector1" presStyleLbl="node1" presStyleIdx="0" presStyleCnt="0"/>
      <dgm:spPr/>
    </dgm:pt>
    <dgm:pt modelId="{594EBDD6-86A7-40C3-9DAD-446448BE4079}" type="pres">
      <dgm:prSet presAssocID="{807C3541-FEFF-4420-BA78-60ADD6E3C520}" presName="hierChild2" presStyleCnt="0"/>
      <dgm:spPr/>
    </dgm:pt>
    <dgm:pt modelId="{3C1A2501-9F7B-4F3E-A068-160271F1438C}" type="pres">
      <dgm:prSet presAssocID="{568A67E8-8B88-4F43-BA34-F10135585D2B}" presName="Name64" presStyleLbl="parChTrans1D2" presStyleIdx="8" presStyleCnt="10"/>
      <dgm:spPr/>
    </dgm:pt>
    <dgm:pt modelId="{327DE797-4EA0-41E1-86CA-767F9898635F}" type="pres">
      <dgm:prSet presAssocID="{3198FF5D-F14A-4BEE-8017-5953967D90B8}" presName="hierRoot2" presStyleCnt="0">
        <dgm:presLayoutVars>
          <dgm:hierBranch val="init"/>
        </dgm:presLayoutVars>
      </dgm:prSet>
      <dgm:spPr/>
    </dgm:pt>
    <dgm:pt modelId="{3F45AD17-0C92-473F-A804-3945C4F06565}" type="pres">
      <dgm:prSet presAssocID="{3198FF5D-F14A-4BEE-8017-5953967D90B8}" presName="rootComposite" presStyleCnt="0"/>
      <dgm:spPr/>
    </dgm:pt>
    <dgm:pt modelId="{C59D1964-10A1-4939-9773-3412B26227FF}" type="pres">
      <dgm:prSet presAssocID="{3198FF5D-F14A-4BEE-8017-5953967D90B8}" presName="rootText" presStyleLbl="node2" presStyleIdx="8" presStyleCnt="10" custScaleY="146837" custLinFactNeighborX="72769" custLinFactNeighborY="25637">
        <dgm:presLayoutVars>
          <dgm:chPref val="3"/>
        </dgm:presLayoutVars>
      </dgm:prSet>
      <dgm:spPr>
        <a:prstGeom prst="rect">
          <a:avLst/>
        </a:prstGeom>
      </dgm:spPr>
    </dgm:pt>
    <dgm:pt modelId="{CA7DB183-51F4-4ACD-9E08-183539A19133}" type="pres">
      <dgm:prSet presAssocID="{3198FF5D-F14A-4BEE-8017-5953967D90B8}" presName="rootConnector" presStyleLbl="node2" presStyleIdx="8" presStyleCnt="10"/>
      <dgm:spPr/>
    </dgm:pt>
    <dgm:pt modelId="{78EF0278-6E18-4943-8E3B-E3820562FE4A}" type="pres">
      <dgm:prSet presAssocID="{3198FF5D-F14A-4BEE-8017-5953967D90B8}" presName="hierChild4" presStyleCnt="0"/>
      <dgm:spPr/>
    </dgm:pt>
    <dgm:pt modelId="{7B81495F-33BB-448D-B55F-1F3EA6A5E543}" type="pres">
      <dgm:prSet presAssocID="{AA1F1399-24DD-429F-A4BB-7911C2B8BFFA}" presName="Name64" presStyleLbl="parChTrans1D3" presStyleIdx="4" presStyleCnt="5"/>
      <dgm:spPr/>
    </dgm:pt>
    <dgm:pt modelId="{B867FB84-EC51-4091-B95D-402717C24D78}" type="pres">
      <dgm:prSet presAssocID="{8F0F0D30-959A-4B9D-B564-38D42E50F4A6}" presName="hierRoot2" presStyleCnt="0">
        <dgm:presLayoutVars>
          <dgm:hierBranch val="init"/>
        </dgm:presLayoutVars>
      </dgm:prSet>
      <dgm:spPr/>
    </dgm:pt>
    <dgm:pt modelId="{0BD9BE88-FBB1-4E2B-B3F7-97A38595923A}" type="pres">
      <dgm:prSet presAssocID="{8F0F0D30-959A-4B9D-B564-38D42E50F4A6}" presName="rootComposite" presStyleCnt="0"/>
      <dgm:spPr/>
    </dgm:pt>
    <dgm:pt modelId="{AB977356-973A-4AF3-B9BD-6DE402EA5DD9}" type="pres">
      <dgm:prSet presAssocID="{8F0F0D30-959A-4B9D-B564-38D42E50F4A6}" presName="rootText" presStyleLbl="node3" presStyleIdx="4" presStyleCnt="5" custScaleX="179414" custScaleY="227607" custLinFactX="68905" custLinFactNeighborX="100000" custLinFactNeighborY="94185">
        <dgm:presLayoutVars>
          <dgm:chPref val="3"/>
        </dgm:presLayoutVars>
      </dgm:prSet>
      <dgm:spPr>
        <a:prstGeom prst="flowChartDisplay">
          <a:avLst/>
        </a:prstGeom>
      </dgm:spPr>
    </dgm:pt>
    <dgm:pt modelId="{76E5045E-C576-415E-93AD-F4CB348B9F01}" type="pres">
      <dgm:prSet presAssocID="{8F0F0D30-959A-4B9D-B564-38D42E50F4A6}" presName="rootConnector" presStyleLbl="node3" presStyleIdx="4" presStyleCnt="5"/>
      <dgm:spPr/>
    </dgm:pt>
    <dgm:pt modelId="{1DB7379D-228B-401B-B249-F2915A61F08B}" type="pres">
      <dgm:prSet presAssocID="{8F0F0D30-959A-4B9D-B564-38D42E50F4A6}" presName="hierChild4" presStyleCnt="0"/>
      <dgm:spPr/>
    </dgm:pt>
    <dgm:pt modelId="{7B2B698A-55F0-4A39-BD85-C229B72EF1F8}" type="pres">
      <dgm:prSet presAssocID="{8F0F0D30-959A-4B9D-B564-38D42E50F4A6}" presName="hierChild5" presStyleCnt="0"/>
      <dgm:spPr/>
    </dgm:pt>
    <dgm:pt modelId="{343A1E0F-0C1C-42F1-AAD3-8EF1FD3F0566}" type="pres">
      <dgm:prSet presAssocID="{3198FF5D-F14A-4BEE-8017-5953967D90B8}" presName="hierChild5" presStyleCnt="0"/>
      <dgm:spPr/>
    </dgm:pt>
    <dgm:pt modelId="{909D3183-362D-43FC-A432-4A299E00592D}" type="pres">
      <dgm:prSet presAssocID="{807C3541-FEFF-4420-BA78-60ADD6E3C520}" presName="hierChild3" presStyleCnt="0"/>
      <dgm:spPr/>
    </dgm:pt>
    <dgm:pt modelId="{C8A5F0C9-5C59-486F-8F5F-8553061CAD05}" type="pres">
      <dgm:prSet presAssocID="{F19EAA58-7A66-455C-95C0-0562B3DE911B}" presName="hierRoot1" presStyleCnt="0">
        <dgm:presLayoutVars>
          <dgm:hierBranch val="init"/>
        </dgm:presLayoutVars>
      </dgm:prSet>
      <dgm:spPr/>
    </dgm:pt>
    <dgm:pt modelId="{2F67D61B-70C4-44EB-AC51-65FB2B8BDB7F}" type="pres">
      <dgm:prSet presAssocID="{F19EAA58-7A66-455C-95C0-0562B3DE911B}" presName="rootComposite1" presStyleCnt="0"/>
      <dgm:spPr/>
    </dgm:pt>
    <dgm:pt modelId="{55C73A3A-F559-4CFF-B10F-92972CF5F897}" type="pres">
      <dgm:prSet presAssocID="{F19EAA58-7A66-455C-95C0-0562B3DE911B}" presName="rootText1" presStyleLbl="node0" presStyleIdx="9" presStyleCnt="10" custScaleY="87697" custLinFactNeighborX="-44119" custLinFactNeighborY="-42581">
        <dgm:presLayoutVars>
          <dgm:chPref val="3"/>
        </dgm:presLayoutVars>
      </dgm:prSet>
      <dgm:spPr>
        <a:prstGeom prst="roundRect">
          <a:avLst/>
        </a:prstGeom>
      </dgm:spPr>
    </dgm:pt>
    <dgm:pt modelId="{49DB96F7-9AE4-49FD-87C9-C40259A96E40}" type="pres">
      <dgm:prSet presAssocID="{F19EAA58-7A66-455C-95C0-0562B3DE911B}" presName="rootConnector1" presStyleLbl="node1" presStyleIdx="0" presStyleCnt="0"/>
      <dgm:spPr/>
    </dgm:pt>
    <dgm:pt modelId="{34389A6C-1EF5-4545-9455-0B105087F315}" type="pres">
      <dgm:prSet presAssocID="{F19EAA58-7A66-455C-95C0-0562B3DE911B}" presName="hierChild2" presStyleCnt="0"/>
      <dgm:spPr/>
    </dgm:pt>
    <dgm:pt modelId="{6B3A0DF8-B189-4EDA-928D-B026171DAD90}" type="pres">
      <dgm:prSet presAssocID="{6A54F4F7-F7B2-4ABF-9F73-FF9540FF4C80}" presName="Name64" presStyleLbl="parChTrans1D2" presStyleIdx="9" presStyleCnt="10"/>
      <dgm:spPr/>
    </dgm:pt>
    <dgm:pt modelId="{89732662-3B2A-489A-B02B-FCD4DEA439E2}" type="pres">
      <dgm:prSet presAssocID="{D8A68DFF-3DE5-415D-BA59-2010C696728C}" presName="hierRoot2" presStyleCnt="0">
        <dgm:presLayoutVars>
          <dgm:hierBranch val="init"/>
        </dgm:presLayoutVars>
      </dgm:prSet>
      <dgm:spPr/>
    </dgm:pt>
    <dgm:pt modelId="{140DEE5E-4662-4359-9234-EDFD3DCB0F22}" type="pres">
      <dgm:prSet presAssocID="{D8A68DFF-3DE5-415D-BA59-2010C696728C}" presName="rootComposite" presStyleCnt="0"/>
      <dgm:spPr/>
    </dgm:pt>
    <dgm:pt modelId="{5BF27B3F-FE56-482B-A094-9C17F8FB509D}" type="pres">
      <dgm:prSet presAssocID="{D8A68DFF-3DE5-415D-BA59-2010C696728C}" presName="rootText" presStyleLbl="node2" presStyleIdx="9" presStyleCnt="10" custScaleY="146837" custLinFactNeighborX="72769" custLinFactNeighborY="-42581">
        <dgm:presLayoutVars>
          <dgm:chPref val="3"/>
        </dgm:presLayoutVars>
      </dgm:prSet>
      <dgm:spPr>
        <a:prstGeom prst="ellipse">
          <a:avLst/>
        </a:prstGeom>
      </dgm:spPr>
    </dgm:pt>
    <dgm:pt modelId="{B8929FA0-BEFA-4848-9504-7E7AAEB252D6}" type="pres">
      <dgm:prSet presAssocID="{D8A68DFF-3DE5-415D-BA59-2010C696728C}" presName="rootConnector" presStyleLbl="node2" presStyleIdx="9" presStyleCnt="10"/>
      <dgm:spPr/>
    </dgm:pt>
    <dgm:pt modelId="{17C4491F-FDEB-4F3B-AE4F-C26235B7C948}" type="pres">
      <dgm:prSet presAssocID="{D8A68DFF-3DE5-415D-BA59-2010C696728C}" presName="hierChild4" presStyleCnt="0"/>
      <dgm:spPr/>
    </dgm:pt>
    <dgm:pt modelId="{7A97E6B7-C977-4882-A72D-DE86A9550DE1}" type="pres">
      <dgm:prSet presAssocID="{D8A68DFF-3DE5-415D-BA59-2010C696728C}" presName="hierChild5" presStyleCnt="0"/>
      <dgm:spPr/>
    </dgm:pt>
    <dgm:pt modelId="{94EDDE7F-9969-4222-AA2E-4F6D07FF390D}" type="pres">
      <dgm:prSet presAssocID="{F19EAA58-7A66-455C-95C0-0562B3DE911B}" presName="hierChild3" presStyleCnt="0"/>
      <dgm:spPr/>
    </dgm:pt>
  </dgm:ptLst>
  <dgm:cxnLst>
    <dgm:cxn modelId="{06FBD104-E145-4713-8F0C-97CEA9EA907B}" type="presOf" srcId="{AD6FBD3B-8A7D-4317-BB75-D2A9592FB8BE}" destId="{B807D448-C164-41F3-952C-4662C5DAB639}" srcOrd="1" destOrd="0" presId="urn:microsoft.com/office/officeart/2009/3/layout/HorizontalOrganizationChart"/>
    <dgm:cxn modelId="{DF46BC06-B721-4AE4-8AC1-7FEE0A780FC0}" type="presOf" srcId="{EF3D876D-3EE3-4D07-AAFA-45A65E67153D}" destId="{3F481A9A-E90C-4996-961E-95AB6F4713AE}" srcOrd="0" destOrd="0" presId="urn:microsoft.com/office/officeart/2009/3/layout/HorizontalOrganizationChart"/>
    <dgm:cxn modelId="{2C99BC08-6277-44C4-8EB7-41BC66E90A7B}" type="presOf" srcId="{8F0F0D30-959A-4B9D-B564-38D42E50F4A6}" destId="{AB977356-973A-4AF3-B9BD-6DE402EA5DD9}" srcOrd="0" destOrd="0" presId="urn:microsoft.com/office/officeart/2009/3/layout/HorizontalOrganizationChart"/>
    <dgm:cxn modelId="{662DBD0A-8B5E-429E-9CFE-18BE402E797F}" srcId="{DD0D810A-461B-43AB-9074-9E97C0408D20}" destId="{807C3541-FEFF-4420-BA78-60ADD6E3C520}" srcOrd="8" destOrd="0" parTransId="{68039E19-AE1C-4E5A-AEFE-CC2A1BE25DBA}" sibTransId="{2FAE573F-C835-4FE7-8D68-DD646A3E3752}"/>
    <dgm:cxn modelId="{3F98450E-CE74-402F-B147-B71B24C6FB18}" srcId="{0602ED7E-9C90-492C-B953-EE44638FBB95}" destId="{AD6FBD3B-8A7D-4317-BB75-D2A9592FB8BE}" srcOrd="0" destOrd="0" parTransId="{1DF9E748-BE9E-4485-997D-1484062506CD}" sibTransId="{791C9EC4-B42B-4F06-BD72-5A1377A347A4}"/>
    <dgm:cxn modelId="{56568610-1EC4-4AA2-BD83-0EBE23AF7591}" type="presOf" srcId="{95C081EA-E623-4650-8D9D-F9DDE315F8E5}" destId="{0EE0040A-1396-415B-8C01-1232BE958866}" srcOrd="0" destOrd="0" presId="urn:microsoft.com/office/officeart/2009/3/layout/HorizontalOrganizationChart"/>
    <dgm:cxn modelId="{1EB77C12-C901-4AD9-9AEA-590DDC02AECC}" type="presOf" srcId="{95C081EA-E623-4650-8D9D-F9DDE315F8E5}" destId="{86C0B054-993D-4151-9D3E-C2A00B395E81}" srcOrd="1" destOrd="0" presId="urn:microsoft.com/office/officeart/2009/3/layout/HorizontalOrganizationChart"/>
    <dgm:cxn modelId="{D0482A13-4772-4812-90C8-8E9DC6B48BB8}" type="presOf" srcId="{1DF9E748-BE9E-4485-997D-1484062506CD}" destId="{88CBFC17-B32F-40BB-A01F-845BE2F3B3D2}" srcOrd="0" destOrd="0" presId="urn:microsoft.com/office/officeart/2009/3/layout/HorizontalOrganizationChart"/>
    <dgm:cxn modelId="{A464C615-08A4-4308-9D31-176CD272EFC4}" srcId="{6C071D51-77B8-4EFD-9FB6-FCEF2ADC1246}" destId="{0602ED7E-9C90-492C-B953-EE44638FBB95}" srcOrd="0" destOrd="0" parTransId="{E5F8A749-E885-42C9-B9EE-5E6294529BB1}" sibTransId="{8CBAE86F-2481-427D-A7BB-5410C2C474AF}"/>
    <dgm:cxn modelId="{D35A7518-0072-4221-9867-FBFE00A0D2B6}" srcId="{DD0D810A-461B-43AB-9074-9E97C0408D20}" destId="{374E3B40-BBBE-480A-AFB4-88D490633E79}" srcOrd="2" destOrd="0" parTransId="{7CD24F9D-E1BB-408F-AAA9-2DE54AABDB4B}" sibTransId="{3C2134FB-03F5-408F-A3E8-366E7D03A159}"/>
    <dgm:cxn modelId="{F909AC18-E9F7-4717-99E8-78634675BF62}" type="presOf" srcId="{181337CE-57D4-4E7A-A05B-60A37E2377AA}" destId="{B8AA2A11-64AA-4FE4-9F64-0E4D555198E6}" srcOrd="0" destOrd="0" presId="urn:microsoft.com/office/officeart/2009/3/layout/HorizontalOrganizationChart"/>
    <dgm:cxn modelId="{F04B591A-EE28-41BE-972E-8FCBA05EBF3E}" srcId="{F64980BF-4994-4AE5-B82B-FE016BD703AC}" destId="{E42E812B-A53E-410B-ACAF-65B89C809D9A}" srcOrd="0" destOrd="0" parTransId="{A04CD877-1FBB-46AC-B119-4A1F5F1189AD}" sibTransId="{AC2340BA-0A3A-4980-97F2-6249438EB5BA}"/>
    <dgm:cxn modelId="{F03ED91A-FFA7-4813-AB61-2C1614A30EE6}" type="presOf" srcId="{A0160691-C5F9-44B8-9B17-16C16C30252D}" destId="{E0713CEF-0EB2-4330-9243-6E22FB263EAB}" srcOrd="1" destOrd="0" presId="urn:microsoft.com/office/officeart/2009/3/layout/HorizontalOrganizationChart"/>
    <dgm:cxn modelId="{66564A1D-4DDB-4900-9D3E-9A6F2B2FD200}" type="presOf" srcId="{FD1DBDAA-A001-4591-8DE7-1CF832D5998F}" destId="{1493CCFF-D6F7-4055-977E-E02F35F1D3DE}" srcOrd="0" destOrd="0" presId="urn:microsoft.com/office/officeart/2009/3/layout/HorizontalOrganizationChart"/>
    <dgm:cxn modelId="{5A7BF81D-D7D1-4DB3-B777-1600FFDF90BB}" type="presOf" srcId="{F64980BF-4994-4AE5-B82B-FE016BD703AC}" destId="{62A470D0-C165-4541-8F24-C466D65C0EB6}" srcOrd="0" destOrd="0" presId="urn:microsoft.com/office/officeart/2009/3/layout/HorizontalOrganizationChart"/>
    <dgm:cxn modelId="{00469F20-E8E6-4BA0-973A-364BA8ACC66A}" type="presOf" srcId="{D8A68DFF-3DE5-415D-BA59-2010C696728C}" destId="{B8929FA0-BEFA-4848-9504-7E7AAEB252D6}" srcOrd="1" destOrd="0" presId="urn:microsoft.com/office/officeart/2009/3/layout/HorizontalOrganizationChart"/>
    <dgm:cxn modelId="{62524221-4FF3-46F9-81B9-5883DC2DB8D9}" type="presOf" srcId="{E42E812B-A53E-410B-ACAF-65B89C809D9A}" destId="{FF3A130B-52BD-4D32-B131-5AD287958039}" srcOrd="0" destOrd="0" presId="urn:microsoft.com/office/officeart/2009/3/layout/HorizontalOrganizationChart"/>
    <dgm:cxn modelId="{22CA8021-7383-46EF-A565-108A961CDB9B}" type="presOf" srcId="{3198FF5D-F14A-4BEE-8017-5953967D90B8}" destId="{CA7DB183-51F4-4ACD-9E08-183539A19133}" srcOrd="1" destOrd="0" presId="urn:microsoft.com/office/officeart/2009/3/layout/HorizontalOrganizationChart"/>
    <dgm:cxn modelId="{A8B81A22-02C7-4A25-A16B-B555CB9DD291}" type="presOf" srcId="{6E609385-C993-4BC2-9C17-F960FE135F9E}" destId="{8FC2B97D-DB59-4737-9207-C815A23BF65E}" srcOrd="0" destOrd="0" presId="urn:microsoft.com/office/officeart/2009/3/layout/HorizontalOrganizationChart"/>
    <dgm:cxn modelId="{D66B2423-EA40-4AD3-8D39-8A788F41731C}" srcId="{DD0D810A-461B-43AB-9074-9E97C0408D20}" destId="{A0160691-C5F9-44B8-9B17-16C16C30252D}" srcOrd="1" destOrd="0" parTransId="{7C1C211D-DF08-4FA2-A593-3F78C8D74D1E}" sibTransId="{7CA754DD-BCA3-484D-948A-4898820E12A5}"/>
    <dgm:cxn modelId="{6C665423-4DC7-4E94-909F-995B729145D9}" type="presOf" srcId="{0602ED7E-9C90-492C-B953-EE44638FBB95}" destId="{4DA49A07-9EA0-48E0-9D38-EEBB3D0A0EA8}" srcOrd="0" destOrd="0" presId="urn:microsoft.com/office/officeart/2009/3/layout/HorizontalOrganizationChart"/>
    <dgm:cxn modelId="{477E4925-68F5-44C5-B297-183ADBE99E36}" type="presOf" srcId="{807C3541-FEFF-4420-BA78-60ADD6E3C520}" destId="{7E49BADF-7699-47C5-82B9-00203BAE3D05}" srcOrd="0" destOrd="0" presId="urn:microsoft.com/office/officeart/2009/3/layout/HorizontalOrganizationChart"/>
    <dgm:cxn modelId="{1BA08627-EA9D-4064-8B98-BDA053651B5A}" type="presOf" srcId="{AA1F1399-24DD-429F-A4BB-7911C2B8BFFA}" destId="{7B81495F-33BB-448D-B55F-1F3EA6A5E543}" srcOrd="0" destOrd="0" presId="urn:microsoft.com/office/officeart/2009/3/layout/HorizontalOrganizationChart"/>
    <dgm:cxn modelId="{D3A2E22A-915E-439D-9DBE-B4D6BF15E285}" srcId="{DD0D810A-461B-43AB-9074-9E97C0408D20}" destId="{FD1DBDAA-A001-4591-8DE7-1CF832D5998F}" srcOrd="5" destOrd="0" parTransId="{455A81A8-DB9B-495F-A246-9BBAD335F952}" sibTransId="{B88F5D7E-1B87-474F-BD16-1E52448760E8}"/>
    <dgm:cxn modelId="{0393CB2B-2930-44E4-93AE-941D72D857B6}" srcId="{DD0D810A-461B-43AB-9074-9E97C0408D20}" destId="{F19EAA58-7A66-455C-95C0-0562B3DE911B}" srcOrd="9" destOrd="0" parTransId="{DB3E4C0E-AB25-4AE2-8D39-61BB991A52A7}" sibTransId="{A5E45FA0-09FF-44DE-B7DF-EE2379CEAC16}"/>
    <dgm:cxn modelId="{45CD6E2F-9EDB-47F0-A6FD-6D4665FCA123}" type="presOf" srcId="{5CC210C8-5E6E-48F0-8FD0-6A866839FB6B}" destId="{819DBB63-9FFA-4E43-A6FD-4C64089534ED}" srcOrd="0" destOrd="0" presId="urn:microsoft.com/office/officeart/2009/3/layout/HorizontalOrganizationChart"/>
    <dgm:cxn modelId="{F85B4B30-B5C8-4530-8399-D31A0D721B6D}" type="presOf" srcId="{F19EAA58-7A66-455C-95C0-0562B3DE911B}" destId="{55C73A3A-F559-4CFF-B10F-92972CF5F897}" srcOrd="0" destOrd="0" presId="urn:microsoft.com/office/officeart/2009/3/layout/HorizontalOrganizationChart"/>
    <dgm:cxn modelId="{F1F5EE35-1679-4F1A-B601-7292D740B0FC}" type="presOf" srcId="{3935ABD3-BCEB-4366-8068-AF4AC2EC6F86}" destId="{E5C0F204-0BA5-475D-BA78-58C4F5296014}" srcOrd="0" destOrd="0" presId="urn:microsoft.com/office/officeart/2009/3/layout/HorizontalOrganizationChart"/>
    <dgm:cxn modelId="{C9849838-12A6-45D2-BA38-56E5532AE5C2}" srcId="{3198FF5D-F14A-4BEE-8017-5953967D90B8}" destId="{8F0F0D30-959A-4B9D-B564-38D42E50F4A6}" srcOrd="0" destOrd="0" parTransId="{AA1F1399-24DD-429F-A4BB-7911C2B8BFFA}" sibTransId="{0C815E20-8AF4-42B1-A7EB-3FE60654EA32}"/>
    <dgm:cxn modelId="{8E696739-4710-409E-9F6A-6415847D2AA7}" srcId="{FD1DBDAA-A001-4591-8DE7-1CF832D5998F}" destId="{D54A7B4A-DF66-40C0-906F-D4D32F04FB90}" srcOrd="0" destOrd="0" parTransId="{D7AD2902-6F37-4EB6-B6EC-C1349D73C805}" sibTransId="{7D804DBF-C5C2-48B4-A128-81D9E02AE9AB}"/>
    <dgm:cxn modelId="{ACEB683B-FC52-4AB6-8E02-C021CDB00E93}" srcId="{807C3541-FEFF-4420-BA78-60ADD6E3C520}" destId="{3198FF5D-F14A-4BEE-8017-5953967D90B8}" srcOrd="0" destOrd="0" parTransId="{568A67E8-8B88-4F43-BA34-F10135585D2B}" sibTransId="{CC428D1D-7EC0-4636-B64E-74D254EBF2E5}"/>
    <dgm:cxn modelId="{06939F3B-DA86-4BB2-A5AE-5E7CF29F1BA9}" type="presOf" srcId="{8F0F0D30-959A-4B9D-B564-38D42E50F4A6}" destId="{76E5045E-C576-415E-93AD-F4CB348B9F01}" srcOrd="1" destOrd="0" presId="urn:microsoft.com/office/officeart/2009/3/layout/HorizontalOrganizationChart"/>
    <dgm:cxn modelId="{88DE815E-1B21-489F-8522-B595238237FE}" type="presOf" srcId="{3198FF5D-F14A-4BEE-8017-5953967D90B8}" destId="{C59D1964-10A1-4939-9773-3412B26227FF}" srcOrd="0" destOrd="0" presId="urn:microsoft.com/office/officeart/2009/3/layout/HorizontalOrganizationChart"/>
    <dgm:cxn modelId="{F6822A41-9417-4F09-AF6D-9025C7186365}" type="presOf" srcId="{F777E9C7-1812-46A8-9B44-36F638B989E3}" destId="{138DA514-4305-4324-9DD8-A4E5D22470C0}" srcOrd="0" destOrd="0" presId="urn:microsoft.com/office/officeart/2009/3/layout/HorizontalOrganizationChart"/>
    <dgm:cxn modelId="{34310F64-4E48-4308-BE51-BFDDCE09909A}" srcId="{85023C2C-452D-4AC9-A6FA-0F9D7138C59C}" destId="{4E5FFA0C-6510-4201-A7B1-ABD5AEF2D97A}" srcOrd="0" destOrd="0" parTransId="{BC42BC40-0016-4436-879E-4DDC17E681D8}" sibTransId="{012D8BD1-3B16-42B8-AD19-91B1BF069CC4}"/>
    <dgm:cxn modelId="{3C8CAA45-248A-4ADF-93F8-F4CA8D96E11D}" srcId="{F19EAA58-7A66-455C-95C0-0562B3DE911B}" destId="{D8A68DFF-3DE5-415D-BA59-2010C696728C}" srcOrd="0" destOrd="0" parTransId="{6A54F4F7-F7B2-4ABF-9F73-FF9540FF4C80}" sibTransId="{6C1BC2E9-4C37-410D-85D5-5F7E77A32D3C}"/>
    <dgm:cxn modelId="{FFB39546-5618-4A1C-81F8-983A74A28FA8}" type="presOf" srcId="{F64980BF-4994-4AE5-B82B-FE016BD703AC}" destId="{42787AE4-2E94-4013-BB43-547398F8F0CE}" srcOrd="1" destOrd="0" presId="urn:microsoft.com/office/officeart/2009/3/layout/HorizontalOrganizationChart"/>
    <dgm:cxn modelId="{02B2BE66-9E19-4A8D-8762-2F18C29C0264}" type="presOf" srcId="{BC42BC40-0016-4436-879E-4DDC17E681D8}" destId="{9484AD96-A6D5-4748-969C-E4B92A970937}" srcOrd="0" destOrd="0" presId="urn:microsoft.com/office/officeart/2009/3/layout/HorizontalOrganizationChart"/>
    <dgm:cxn modelId="{85AC4B47-1960-4A0C-A997-124077F1CB2E}" type="presOf" srcId="{D54A7B4A-DF66-40C0-906F-D4D32F04FB90}" destId="{1E5E492B-8977-4BF8-9DC9-D4782DC096AF}" srcOrd="0" destOrd="0" presId="urn:microsoft.com/office/officeart/2009/3/layout/HorizontalOrganizationChart"/>
    <dgm:cxn modelId="{37262148-BB0F-4AAE-93EB-D71C43F7ABA1}" srcId="{374E3B40-BBBE-480A-AFB4-88D490633E79}" destId="{EF3D876D-3EE3-4D07-AAFA-45A65E67153D}" srcOrd="0" destOrd="0" parTransId="{6E609385-C993-4BC2-9C17-F960FE135F9E}" sibTransId="{4FECF614-695B-4D39-A080-4F84C9ACE92B}"/>
    <dgm:cxn modelId="{21F98250-11DA-44B8-A550-DC1BB7B80976}" type="presOf" srcId="{4E5FFA0C-6510-4201-A7B1-ABD5AEF2D97A}" destId="{6F1015F1-923E-445D-9DC0-CC0AADDA21B0}" srcOrd="1" destOrd="0" presId="urn:microsoft.com/office/officeart/2009/3/layout/HorizontalOrganizationChart"/>
    <dgm:cxn modelId="{C6704A52-4B77-411D-A19A-C2F331CDC455}" type="presOf" srcId="{AD6FBD3B-8A7D-4317-BB75-D2A9592FB8BE}" destId="{185F49BA-0FB4-494E-888E-7DA48969E1D5}" srcOrd="0" destOrd="0" presId="urn:microsoft.com/office/officeart/2009/3/layout/HorizontalOrganizationChart"/>
    <dgm:cxn modelId="{DB8D8553-FC73-4E5C-AE2F-9D82964C7E79}" type="presOf" srcId="{807C3541-FEFF-4420-BA78-60ADD6E3C520}" destId="{099A95EB-AB3B-4D2F-914C-1F080595884C}" srcOrd="1" destOrd="0" presId="urn:microsoft.com/office/officeart/2009/3/layout/HorizontalOrganizationChart"/>
    <dgm:cxn modelId="{C8D2E953-4532-4476-9A06-3FFDFFE52F2D}" type="presOf" srcId="{6C071D51-77B8-4EFD-9FB6-FCEF2ADC1246}" destId="{34B92687-26AF-45EB-AA9C-D562FD3F5B8B}" srcOrd="0" destOrd="0" presId="urn:microsoft.com/office/officeart/2009/3/layout/HorizontalOrganizationChart"/>
    <dgm:cxn modelId="{C26BFB53-458F-42F2-AD91-A65F3C01D26D}" type="presOf" srcId="{0602ED7E-9C90-492C-B953-EE44638FBB95}" destId="{791FDAA3-E3B9-44A0-A506-C5A7896959A9}" srcOrd="1" destOrd="0" presId="urn:microsoft.com/office/officeart/2009/3/layout/HorizontalOrganizationChart"/>
    <dgm:cxn modelId="{5C6ECB56-94C0-4CFB-8C13-BECED954CE27}" type="presOf" srcId="{659AE9CF-DD53-43E5-9868-97D2ED8D2738}" destId="{09C3C495-1B83-4181-89F0-E6D3004CEB2F}" srcOrd="1" destOrd="0" presId="urn:microsoft.com/office/officeart/2009/3/layout/HorizontalOrganizationChart"/>
    <dgm:cxn modelId="{2652CC56-665B-4E76-AF2A-D7E6F3A00CC5}" type="presOf" srcId="{A04CD877-1FBB-46AC-B119-4A1F5F1189AD}" destId="{38A77848-2E57-4687-A6E6-6C91FAAE6A5E}" srcOrd="0" destOrd="0" presId="urn:microsoft.com/office/officeart/2009/3/layout/HorizontalOrganizationChart"/>
    <dgm:cxn modelId="{4C94DD76-9B7E-4BE6-B67B-3C3BF7CC0196}" type="presOf" srcId="{568A67E8-8B88-4F43-BA34-F10135585D2B}" destId="{3C1A2501-9F7B-4F3E-A068-160271F1438C}" srcOrd="0" destOrd="0" presId="urn:microsoft.com/office/officeart/2009/3/layout/HorizontalOrganizationChart"/>
    <dgm:cxn modelId="{4D181157-88CB-42C7-90E6-47DD0ABA4AC0}" type="presOf" srcId="{FD1DBDAA-A001-4591-8DE7-1CF832D5998F}" destId="{33967DC3-621D-400D-945C-99F4F4EA2AAA}" srcOrd="1" destOrd="0" presId="urn:microsoft.com/office/officeart/2009/3/layout/HorizontalOrganizationChart"/>
    <dgm:cxn modelId="{8B0E7579-A8A2-4737-BFD2-154140D71179}" type="presOf" srcId="{D8A68DFF-3DE5-415D-BA59-2010C696728C}" destId="{5BF27B3F-FE56-482B-A094-9C17F8FB509D}" srcOrd="0" destOrd="0" presId="urn:microsoft.com/office/officeart/2009/3/layout/HorizontalOrganizationChart"/>
    <dgm:cxn modelId="{1F135081-99B2-499E-AF49-E1B383697C50}" srcId="{25689892-4E7D-40AA-A673-4C1F0CF0FA5A}" destId="{95C081EA-E623-4650-8D9D-F9DDE315F8E5}" srcOrd="0" destOrd="0" parTransId="{B56C1068-89F2-4261-94F2-98377A59CF83}" sibTransId="{0854C3F3-3B12-44C3-A3C2-FF2A3971B0EA}"/>
    <dgm:cxn modelId="{A9A3AD81-B44F-4E03-AB55-9DE0B8EE7416}" type="presOf" srcId="{E42E812B-A53E-410B-ACAF-65B89C809D9A}" destId="{2627D3DD-04F5-42AD-86C4-9401F0F5DBB9}" srcOrd="1" destOrd="0" presId="urn:microsoft.com/office/officeart/2009/3/layout/HorizontalOrganizationChart"/>
    <dgm:cxn modelId="{34485087-B5E1-4C7C-A12D-6E4193B5890D}" srcId="{A0160691-C5F9-44B8-9B17-16C16C30252D}" destId="{181337CE-57D4-4E7A-A05B-60A37E2377AA}" srcOrd="0" destOrd="0" parTransId="{3935ABD3-BCEB-4366-8068-AF4AC2EC6F86}" sibTransId="{DD97806B-124E-472F-8B3E-E5D1562EC24B}"/>
    <dgm:cxn modelId="{A1D3D487-6284-42A5-BD9A-173CE5CCC61B}" srcId="{3AFB4E32-1F59-4D07-BCF8-91DA61B65CFA}" destId="{29E6D98C-7CD3-4CEA-9EFA-45A1CA2D803A}" srcOrd="0" destOrd="0" parTransId="{DEC05715-FEDF-4412-9AD5-B59AB6420D07}" sibTransId="{AFD93C40-7DEA-4C8D-96E6-A850EDB6579A}"/>
    <dgm:cxn modelId="{6FD3A089-B8C9-4038-A967-3E620D1E224D}" type="presOf" srcId="{B56C1068-89F2-4261-94F2-98377A59CF83}" destId="{1D238B17-4702-4BC2-BE36-EB12789119F6}" srcOrd="0" destOrd="0" presId="urn:microsoft.com/office/officeart/2009/3/layout/HorizontalOrganizationChart"/>
    <dgm:cxn modelId="{E0B9178B-13FD-411D-A3C1-B338F7989461}" srcId="{DD0D810A-461B-43AB-9074-9E97C0408D20}" destId="{F64980BF-4994-4AE5-B82B-FE016BD703AC}" srcOrd="7" destOrd="0" parTransId="{2EEE1247-63DA-44B4-92C6-8C1C591F1E70}" sibTransId="{1E425069-9ECA-439D-B69A-AA27C7DAC8D6}"/>
    <dgm:cxn modelId="{C863C391-AC8D-4932-BF1E-1781E3CA9FB9}" type="presOf" srcId="{F19EAA58-7A66-455C-95C0-0562B3DE911B}" destId="{49DB96F7-9AE4-49FD-87C9-C40259A96E40}" srcOrd="1" destOrd="0" presId="urn:microsoft.com/office/officeart/2009/3/layout/HorizontalOrganizationChart"/>
    <dgm:cxn modelId="{07BA3194-9F98-4565-9B7D-45A9D4AA9D58}" srcId="{DD0D810A-461B-43AB-9074-9E97C0408D20}" destId="{3AFB4E32-1F59-4D07-BCF8-91DA61B65CFA}" srcOrd="6" destOrd="0" parTransId="{021CF996-4CCE-4B2D-8851-2772864BBF67}" sibTransId="{6CBD2151-A96C-4245-80F1-24AEAD8E22AC}"/>
    <dgm:cxn modelId="{FD70AD96-E424-4CDC-8DF2-50E9892F960F}" type="presOf" srcId="{5CC210C8-5E6E-48F0-8FD0-6A866839FB6B}" destId="{61996124-B121-4C46-839E-B33748350A1C}" srcOrd="1" destOrd="0" presId="urn:microsoft.com/office/officeart/2009/3/layout/HorizontalOrganizationChart"/>
    <dgm:cxn modelId="{52446098-2E7E-4BF5-A179-97DD94581684}" srcId="{E42E812B-A53E-410B-ACAF-65B89C809D9A}" destId="{659AE9CF-DD53-43E5-9868-97D2ED8D2738}" srcOrd="0" destOrd="0" parTransId="{01D5BAF7-61A6-42DD-9DAF-498F6404018D}" sibTransId="{F0F938A9-E8F2-4759-9C0A-EB76C102C3C3}"/>
    <dgm:cxn modelId="{5B8B6C99-FBFF-43AB-B6F4-40C4659D09D7}" type="presOf" srcId="{A0160691-C5F9-44B8-9B17-16C16C30252D}" destId="{EBCCF8B9-6E13-4F0A-BE2A-F8631A1C1FC2}" srcOrd="0" destOrd="0" presId="urn:microsoft.com/office/officeart/2009/3/layout/HorizontalOrganizationChart"/>
    <dgm:cxn modelId="{5D59DB9A-A9FB-4F72-A7E5-91B9909FF7CC}" type="presOf" srcId="{08EED27D-B691-455A-8D11-8D4400592106}" destId="{CA82278E-F451-4EA7-A79E-93E1B57BBB1F}" srcOrd="0" destOrd="0" presId="urn:microsoft.com/office/officeart/2009/3/layout/HorizontalOrganizationChart"/>
    <dgm:cxn modelId="{9DAF28A2-3D0A-42CF-B77A-139D0A030B79}" type="presOf" srcId="{01D5BAF7-61A6-42DD-9DAF-498F6404018D}" destId="{D2F21566-B71B-4DB4-8B71-6AD821F912EA}" srcOrd="0" destOrd="0" presId="urn:microsoft.com/office/officeart/2009/3/layout/HorizontalOrganizationChart"/>
    <dgm:cxn modelId="{A945D7A3-D004-421D-9BE6-F7C2D33231F7}" type="presOf" srcId="{6C071D51-77B8-4EFD-9FB6-FCEF2ADC1246}" destId="{10904998-4AC3-4226-96FF-4468A42FBDAE}" srcOrd="1" destOrd="0" presId="urn:microsoft.com/office/officeart/2009/3/layout/HorizontalOrganizationChart"/>
    <dgm:cxn modelId="{1014DCAC-532B-4A78-81EE-0492D72449EC}" type="presOf" srcId="{29E6D98C-7CD3-4CEA-9EFA-45A1CA2D803A}" destId="{CE2D37E2-D65F-4650-8433-20B5E5B6F000}" srcOrd="0" destOrd="0" presId="urn:microsoft.com/office/officeart/2009/3/layout/HorizontalOrganizationChart"/>
    <dgm:cxn modelId="{EA49F9AC-51B2-466F-8F16-93E1861B047F}" type="presOf" srcId="{374E3B40-BBBE-480A-AFB4-88D490633E79}" destId="{9F0BEDB9-7DCE-4904-9629-127EC139FFBD}" srcOrd="1" destOrd="0" presId="urn:microsoft.com/office/officeart/2009/3/layout/HorizontalOrganizationChart"/>
    <dgm:cxn modelId="{BB2902AD-2D58-410E-AC85-5CBF47C00EA0}" type="presOf" srcId="{85023C2C-452D-4AC9-A6FA-0F9D7138C59C}" destId="{CFC18B94-4FBA-47CD-ABD6-749462FCC69A}" srcOrd="1" destOrd="0" presId="urn:microsoft.com/office/officeart/2009/3/layout/HorizontalOrganizationChart"/>
    <dgm:cxn modelId="{A776B4AD-140D-4F3E-AB05-D57A761F145B}" type="presOf" srcId="{E5F8A749-E885-42C9-B9EE-5E6294529BB1}" destId="{F580550D-7334-4B9E-95B2-51BB673FC8D1}" srcOrd="0" destOrd="0" presId="urn:microsoft.com/office/officeart/2009/3/layout/HorizontalOrganizationChart"/>
    <dgm:cxn modelId="{668C59AF-69DB-4BA4-87C3-E64ECD56B6E8}" type="presOf" srcId="{25689892-4E7D-40AA-A673-4C1F0CF0FA5A}" destId="{D4AD3584-CCC7-4C5D-BA2B-08F7C45B2342}" srcOrd="0" destOrd="0" presId="urn:microsoft.com/office/officeart/2009/3/layout/HorizontalOrganizationChart"/>
    <dgm:cxn modelId="{7DEC99B3-87B2-407C-9F38-487708E39BE1}" type="presOf" srcId="{DD0D810A-461B-43AB-9074-9E97C0408D20}" destId="{5AF7821A-E4E4-49F2-8CDD-D8E21E18D6E7}" srcOrd="0" destOrd="0" presId="urn:microsoft.com/office/officeart/2009/3/layout/HorizontalOrganizationChart"/>
    <dgm:cxn modelId="{8559E0B9-E1A2-451C-8631-684098B1BA9B}" type="presOf" srcId="{25689892-4E7D-40AA-A673-4C1F0CF0FA5A}" destId="{51A2BFE9-2CCD-44C6-9C5D-AA2D7B94BF08}" srcOrd="1" destOrd="0" presId="urn:microsoft.com/office/officeart/2009/3/layout/HorizontalOrganizationChart"/>
    <dgm:cxn modelId="{A3225DBE-FBF4-4CA6-9910-43E74A7EDDCD}" srcId="{DD0D810A-461B-43AB-9074-9E97C0408D20}" destId="{08EED27D-B691-455A-8D11-8D4400592106}" srcOrd="0" destOrd="0" parTransId="{1BD718C0-8E31-4C02-8936-3DC9E7EB711A}" sibTransId="{7B5F34EC-77F8-4B43-BB2C-33BBF5B01984}"/>
    <dgm:cxn modelId="{06AA19BF-279A-4678-8A18-94CF30CBAC6D}" srcId="{DD0D810A-461B-43AB-9074-9E97C0408D20}" destId="{6C071D51-77B8-4EFD-9FB6-FCEF2ADC1246}" srcOrd="4" destOrd="0" parTransId="{67CD13A7-670A-494B-802B-0388262AD6E5}" sibTransId="{8C6DB17C-256F-4FB2-AE9B-B54A9AB67051}"/>
    <dgm:cxn modelId="{08C03AC3-FB42-491A-8AC3-DAA93AE19A3F}" srcId="{DD0D810A-461B-43AB-9074-9E97C0408D20}" destId="{85023C2C-452D-4AC9-A6FA-0F9D7138C59C}" srcOrd="3" destOrd="0" parTransId="{33B9A337-283C-49FE-8E6D-A95BFD1E8030}" sibTransId="{4DC8FC01-4200-4F98-B421-C3BD31407BFE}"/>
    <dgm:cxn modelId="{C49591C4-B037-4341-8A1B-0B2FBAFF4859}" type="presOf" srcId="{3AFB4E32-1F59-4D07-BCF8-91DA61B65CFA}" destId="{E20FA9AC-5869-494E-B466-F33A9C4E61CA}" srcOrd="0" destOrd="0" presId="urn:microsoft.com/office/officeart/2009/3/layout/HorizontalOrganizationChart"/>
    <dgm:cxn modelId="{F42889CA-741A-49D2-A05F-97BC82CADE61}" type="presOf" srcId="{D7AD2902-6F37-4EB6-B6EC-C1349D73C805}" destId="{25C2574F-6633-42E9-9DE8-5FC0DBDAE680}" srcOrd="0" destOrd="0" presId="urn:microsoft.com/office/officeart/2009/3/layout/HorizontalOrganizationChart"/>
    <dgm:cxn modelId="{BB00A3D0-BC3A-4E9E-94F0-93E5FE980CE1}" type="presOf" srcId="{29E6D98C-7CD3-4CEA-9EFA-45A1CA2D803A}" destId="{BD66ED11-FD0D-44C4-BB6D-A4A6C065EEC8}" srcOrd="1" destOrd="0" presId="urn:microsoft.com/office/officeart/2009/3/layout/HorizontalOrganizationChart"/>
    <dgm:cxn modelId="{9A8F76D2-31F5-4279-A7E5-EADC4E647E4B}" type="presOf" srcId="{08EED27D-B691-455A-8D11-8D4400592106}" destId="{34623623-3BE4-45CF-BD25-CAAB9AF090E9}" srcOrd="1" destOrd="0" presId="urn:microsoft.com/office/officeart/2009/3/layout/HorizontalOrganizationChart"/>
    <dgm:cxn modelId="{612E74D3-E124-45B7-9E06-DC29E7F625BC}" type="presOf" srcId="{DEC05715-FEDF-4412-9AD5-B59AB6420D07}" destId="{84F78CD9-9F9D-4D64-A026-AF50DDC2F137}" srcOrd="0" destOrd="0" presId="urn:microsoft.com/office/officeart/2009/3/layout/HorizontalOrganizationChart"/>
    <dgm:cxn modelId="{407066D6-8607-4F8D-80C3-2136CE522977}" type="presOf" srcId="{EF3D876D-3EE3-4D07-AAFA-45A65E67153D}" destId="{F8C2BD55-4131-46B1-9C8F-F2A0FB0317A4}" srcOrd="1" destOrd="0" presId="urn:microsoft.com/office/officeart/2009/3/layout/HorizontalOrganizationChart"/>
    <dgm:cxn modelId="{9B2870D6-6936-49F3-A81E-751791F49240}" type="presOf" srcId="{A20406A2-2D7C-4A2D-8277-F2D7CFFC3989}" destId="{13B287E4-143C-46B8-BB97-EE4AB23BB594}" srcOrd="0" destOrd="0" presId="urn:microsoft.com/office/officeart/2009/3/layout/HorizontalOrganizationChart"/>
    <dgm:cxn modelId="{2820C5D6-5013-4B97-A994-31CB8802E67E}" type="presOf" srcId="{3AFB4E32-1F59-4D07-BCF8-91DA61B65CFA}" destId="{901DDE90-9F46-4960-83B6-2953376473B2}" srcOrd="1" destOrd="0" presId="urn:microsoft.com/office/officeart/2009/3/layout/HorizontalOrganizationChart"/>
    <dgm:cxn modelId="{F0341BD8-469F-4A6C-83F6-86DEA6671799}" srcId="{08EED27D-B691-455A-8D11-8D4400592106}" destId="{25689892-4E7D-40AA-A673-4C1F0CF0FA5A}" srcOrd="0" destOrd="0" parTransId="{F777E9C7-1812-46A8-9B44-36F638B989E3}" sibTransId="{32D3F911-C848-4633-AE9B-C684A3E2D4A0}"/>
    <dgm:cxn modelId="{24228EDC-1F6C-4E96-8DD9-7497351417DC}" type="presOf" srcId="{85023C2C-452D-4AC9-A6FA-0F9D7138C59C}" destId="{66F839EA-1216-4387-BF5F-361D2D94650D}" srcOrd="0" destOrd="0" presId="urn:microsoft.com/office/officeart/2009/3/layout/HorizontalOrganizationChart"/>
    <dgm:cxn modelId="{F8822FDD-CE68-4149-9FBC-82BF4DBE5450}" type="presOf" srcId="{6A54F4F7-F7B2-4ABF-9F73-FF9540FF4C80}" destId="{6B3A0DF8-B189-4EDA-928D-B026171DAD90}" srcOrd="0" destOrd="0" presId="urn:microsoft.com/office/officeart/2009/3/layout/HorizontalOrganizationChart"/>
    <dgm:cxn modelId="{B5289DDD-1DB6-4EE7-8BB6-4323FFB85A7B}" type="presOf" srcId="{374E3B40-BBBE-480A-AFB4-88D490633E79}" destId="{9FC8182C-B293-4C29-819C-5B43DEE42D86}" srcOrd="0" destOrd="0" presId="urn:microsoft.com/office/officeart/2009/3/layout/HorizontalOrganizationChart"/>
    <dgm:cxn modelId="{B84AF7DD-5AD1-4477-A9ED-8AF914EBD4D9}" type="presOf" srcId="{181337CE-57D4-4E7A-A05B-60A37E2377AA}" destId="{07A69A87-9540-482A-9996-68EA3C7E714E}" srcOrd="1" destOrd="0" presId="urn:microsoft.com/office/officeart/2009/3/layout/HorizontalOrganizationChart"/>
    <dgm:cxn modelId="{79B764F2-7802-44EB-9EC5-DDB9B4DEBC4D}" type="presOf" srcId="{4E5FFA0C-6510-4201-A7B1-ABD5AEF2D97A}" destId="{20E39DE7-734B-43EE-83E1-5DA2E5DB6F29}" srcOrd="0" destOrd="0" presId="urn:microsoft.com/office/officeart/2009/3/layout/HorizontalOrganizationChart"/>
    <dgm:cxn modelId="{6E48DFF3-D0AC-4092-B921-D6287AF37432}" type="presOf" srcId="{659AE9CF-DD53-43E5-9868-97D2ED8D2738}" destId="{099675E6-4990-449E-B27E-40BEA05A83D6}" srcOrd="0" destOrd="0" presId="urn:microsoft.com/office/officeart/2009/3/layout/HorizontalOrganizationChart"/>
    <dgm:cxn modelId="{6D197EFA-E970-4CA7-BFDB-12014368DE9A}" srcId="{EF3D876D-3EE3-4D07-AAFA-45A65E67153D}" destId="{5CC210C8-5E6E-48F0-8FD0-6A866839FB6B}" srcOrd="0" destOrd="0" parTransId="{A20406A2-2D7C-4A2D-8277-F2D7CFFC3989}" sibTransId="{C531265A-64F9-4D92-A7AB-716575731EBF}"/>
    <dgm:cxn modelId="{BFBFAFFB-060C-4D87-ABEE-D66E1CCE79C3}" type="presOf" srcId="{D54A7B4A-DF66-40C0-906F-D4D32F04FB90}" destId="{79FC5B86-667A-48F0-BC3B-753A77B62F21}" srcOrd="1" destOrd="0" presId="urn:microsoft.com/office/officeart/2009/3/layout/HorizontalOrganizationChart"/>
    <dgm:cxn modelId="{B76458C3-8572-4FCD-80EF-D8DBE77BCBE9}" type="presParOf" srcId="{5AF7821A-E4E4-49F2-8CDD-D8E21E18D6E7}" destId="{80C2B7DA-1707-47D2-8EFC-5288AE8913B6}" srcOrd="0" destOrd="0" presId="urn:microsoft.com/office/officeart/2009/3/layout/HorizontalOrganizationChart"/>
    <dgm:cxn modelId="{EB20AF0E-9C66-4940-9FD7-9DE294D47EF2}" type="presParOf" srcId="{80C2B7DA-1707-47D2-8EFC-5288AE8913B6}" destId="{6175FF66-8DB8-481C-B9D3-3EA8A4149F44}" srcOrd="0" destOrd="0" presId="urn:microsoft.com/office/officeart/2009/3/layout/HorizontalOrganizationChart"/>
    <dgm:cxn modelId="{E1B83D56-5FF6-4224-B45E-B36B3571760D}" type="presParOf" srcId="{6175FF66-8DB8-481C-B9D3-3EA8A4149F44}" destId="{CA82278E-F451-4EA7-A79E-93E1B57BBB1F}" srcOrd="0" destOrd="0" presId="urn:microsoft.com/office/officeart/2009/3/layout/HorizontalOrganizationChart"/>
    <dgm:cxn modelId="{403A774A-227F-4189-B513-C42B28EC26C8}" type="presParOf" srcId="{6175FF66-8DB8-481C-B9D3-3EA8A4149F44}" destId="{34623623-3BE4-45CF-BD25-CAAB9AF090E9}" srcOrd="1" destOrd="0" presId="urn:microsoft.com/office/officeart/2009/3/layout/HorizontalOrganizationChart"/>
    <dgm:cxn modelId="{17DD4736-DC97-4ED9-99DA-44BB3169C94A}" type="presParOf" srcId="{80C2B7DA-1707-47D2-8EFC-5288AE8913B6}" destId="{967DC226-F180-4127-893E-63135C92783A}" srcOrd="1" destOrd="0" presId="urn:microsoft.com/office/officeart/2009/3/layout/HorizontalOrganizationChart"/>
    <dgm:cxn modelId="{9371B341-D02C-464A-A43D-865D3477134E}" type="presParOf" srcId="{967DC226-F180-4127-893E-63135C92783A}" destId="{138DA514-4305-4324-9DD8-A4E5D22470C0}" srcOrd="0" destOrd="0" presId="urn:microsoft.com/office/officeart/2009/3/layout/HorizontalOrganizationChart"/>
    <dgm:cxn modelId="{597CA2A4-E830-4D45-BCB5-2B4F424D4E0D}" type="presParOf" srcId="{967DC226-F180-4127-893E-63135C92783A}" destId="{A529037C-7282-41BC-829D-90E41CBB3114}" srcOrd="1" destOrd="0" presId="urn:microsoft.com/office/officeart/2009/3/layout/HorizontalOrganizationChart"/>
    <dgm:cxn modelId="{4DFDFDA5-E16D-4EA7-B165-204568D32C2A}" type="presParOf" srcId="{A529037C-7282-41BC-829D-90E41CBB3114}" destId="{C8B28FF1-0151-406F-9BD0-E3B77F05369F}" srcOrd="0" destOrd="0" presId="urn:microsoft.com/office/officeart/2009/3/layout/HorizontalOrganizationChart"/>
    <dgm:cxn modelId="{53FFF755-A63F-4897-BAD3-1AD8509DB174}" type="presParOf" srcId="{C8B28FF1-0151-406F-9BD0-E3B77F05369F}" destId="{D4AD3584-CCC7-4C5D-BA2B-08F7C45B2342}" srcOrd="0" destOrd="0" presId="urn:microsoft.com/office/officeart/2009/3/layout/HorizontalOrganizationChart"/>
    <dgm:cxn modelId="{C4858642-AFF1-4AB5-9D8A-58E676C6C7FD}" type="presParOf" srcId="{C8B28FF1-0151-406F-9BD0-E3B77F05369F}" destId="{51A2BFE9-2CCD-44C6-9C5D-AA2D7B94BF08}" srcOrd="1" destOrd="0" presId="urn:microsoft.com/office/officeart/2009/3/layout/HorizontalOrganizationChart"/>
    <dgm:cxn modelId="{95A3F3B4-5C9A-43D6-BEDA-BD7E042FF189}" type="presParOf" srcId="{A529037C-7282-41BC-829D-90E41CBB3114}" destId="{ABD2552C-D71B-4C5F-AD9C-234A9D45F0AB}" srcOrd="1" destOrd="0" presId="urn:microsoft.com/office/officeart/2009/3/layout/HorizontalOrganizationChart"/>
    <dgm:cxn modelId="{332E8F0D-2759-4981-AD57-4C38D1E26738}" type="presParOf" srcId="{ABD2552C-D71B-4C5F-AD9C-234A9D45F0AB}" destId="{1D238B17-4702-4BC2-BE36-EB12789119F6}" srcOrd="0" destOrd="0" presId="urn:microsoft.com/office/officeart/2009/3/layout/HorizontalOrganizationChart"/>
    <dgm:cxn modelId="{3FA154BD-618D-46BA-8EEF-30ACFC8761B3}" type="presParOf" srcId="{ABD2552C-D71B-4C5F-AD9C-234A9D45F0AB}" destId="{004F2797-0A35-4803-A8F6-A10C3F438A71}" srcOrd="1" destOrd="0" presId="urn:microsoft.com/office/officeart/2009/3/layout/HorizontalOrganizationChart"/>
    <dgm:cxn modelId="{E57D42C5-FC24-4D75-9D55-DA3574BEE0DB}" type="presParOf" srcId="{004F2797-0A35-4803-A8F6-A10C3F438A71}" destId="{177DA025-CC0E-40EB-81C5-DD183799493A}" srcOrd="0" destOrd="0" presId="urn:microsoft.com/office/officeart/2009/3/layout/HorizontalOrganizationChart"/>
    <dgm:cxn modelId="{0B060FF0-F583-4E58-9764-B30C8F00F4FF}" type="presParOf" srcId="{177DA025-CC0E-40EB-81C5-DD183799493A}" destId="{0EE0040A-1396-415B-8C01-1232BE958866}" srcOrd="0" destOrd="0" presId="urn:microsoft.com/office/officeart/2009/3/layout/HorizontalOrganizationChart"/>
    <dgm:cxn modelId="{6C025176-2470-466B-90C2-0BDBCD5E263D}" type="presParOf" srcId="{177DA025-CC0E-40EB-81C5-DD183799493A}" destId="{86C0B054-993D-4151-9D3E-C2A00B395E81}" srcOrd="1" destOrd="0" presId="urn:microsoft.com/office/officeart/2009/3/layout/HorizontalOrganizationChart"/>
    <dgm:cxn modelId="{8A7C5438-18FD-4D7E-BF6A-F589FC0F5B51}" type="presParOf" srcId="{004F2797-0A35-4803-A8F6-A10C3F438A71}" destId="{EBB6F584-BB2C-455C-8241-A86734C8CD05}" srcOrd="1" destOrd="0" presId="urn:microsoft.com/office/officeart/2009/3/layout/HorizontalOrganizationChart"/>
    <dgm:cxn modelId="{D5FC30D9-9E4D-4C23-B531-A2943E14B345}" type="presParOf" srcId="{004F2797-0A35-4803-A8F6-A10C3F438A71}" destId="{52201E78-AF28-46F4-909E-5B63B07F75CF}" srcOrd="2" destOrd="0" presId="urn:microsoft.com/office/officeart/2009/3/layout/HorizontalOrganizationChart"/>
    <dgm:cxn modelId="{0FC45226-5AA2-4BF3-B127-AC80366880F4}" type="presParOf" srcId="{A529037C-7282-41BC-829D-90E41CBB3114}" destId="{50E30CAA-BFDE-437B-B60D-77B70AB889E5}" srcOrd="2" destOrd="0" presId="urn:microsoft.com/office/officeart/2009/3/layout/HorizontalOrganizationChart"/>
    <dgm:cxn modelId="{4201C466-B695-44FB-A741-4ED730971074}" type="presParOf" srcId="{80C2B7DA-1707-47D2-8EFC-5288AE8913B6}" destId="{CE207384-9C5C-42F5-AA42-3083E271C6CA}" srcOrd="2" destOrd="0" presId="urn:microsoft.com/office/officeart/2009/3/layout/HorizontalOrganizationChart"/>
    <dgm:cxn modelId="{B5E507B6-FDEB-412A-B5EA-E3104AAAF9B7}" type="presParOf" srcId="{5AF7821A-E4E4-49F2-8CDD-D8E21E18D6E7}" destId="{4BD177F1-71A5-42DC-ADD4-97EB642BC6F7}" srcOrd="1" destOrd="0" presId="urn:microsoft.com/office/officeart/2009/3/layout/HorizontalOrganizationChart"/>
    <dgm:cxn modelId="{86CDE6BD-4ACC-42BB-AEA8-F4BEC52A959C}" type="presParOf" srcId="{4BD177F1-71A5-42DC-ADD4-97EB642BC6F7}" destId="{46DA27E1-06FD-4F4A-A9DF-3CD32D763FE7}" srcOrd="0" destOrd="0" presId="urn:microsoft.com/office/officeart/2009/3/layout/HorizontalOrganizationChart"/>
    <dgm:cxn modelId="{3A89523E-FE0A-4CED-BFEA-F9EA3E6C56E7}" type="presParOf" srcId="{46DA27E1-06FD-4F4A-A9DF-3CD32D763FE7}" destId="{EBCCF8B9-6E13-4F0A-BE2A-F8631A1C1FC2}" srcOrd="0" destOrd="0" presId="urn:microsoft.com/office/officeart/2009/3/layout/HorizontalOrganizationChart"/>
    <dgm:cxn modelId="{2BAEAEE0-0A1D-4A6F-AC44-0A8BEB0F327F}" type="presParOf" srcId="{46DA27E1-06FD-4F4A-A9DF-3CD32D763FE7}" destId="{E0713CEF-0EB2-4330-9243-6E22FB263EAB}" srcOrd="1" destOrd="0" presId="urn:microsoft.com/office/officeart/2009/3/layout/HorizontalOrganizationChart"/>
    <dgm:cxn modelId="{33040BA6-E075-424A-BC60-EB6F42CAFBCC}" type="presParOf" srcId="{4BD177F1-71A5-42DC-ADD4-97EB642BC6F7}" destId="{C1664349-10AB-46D2-94A6-63717898D71D}" srcOrd="1" destOrd="0" presId="urn:microsoft.com/office/officeart/2009/3/layout/HorizontalOrganizationChart"/>
    <dgm:cxn modelId="{0209837B-AFA6-471D-A9E2-40EE317822EE}" type="presParOf" srcId="{C1664349-10AB-46D2-94A6-63717898D71D}" destId="{E5C0F204-0BA5-475D-BA78-58C4F5296014}" srcOrd="0" destOrd="0" presId="urn:microsoft.com/office/officeart/2009/3/layout/HorizontalOrganizationChart"/>
    <dgm:cxn modelId="{01803A69-D34E-4C95-A7F5-485FD0356909}" type="presParOf" srcId="{C1664349-10AB-46D2-94A6-63717898D71D}" destId="{290712CB-1DDF-4D68-9E5C-7197A0534851}" srcOrd="1" destOrd="0" presId="urn:microsoft.com/office/officeart/2009/3/layout/HorizontalOrganizationChart"/>
    <dgm:cxn modelId="{BD85C8AF-CFB5-4CAD-8D64-11D99F25742E}" type="presParOf" srcId="{290712CB-1DDF-4D68-9E5C-7197A0534851}" destId="{2E93130A-9444-4D53-BD77-CAA218240F42}" srcOrd="0" destOrd="0" presId="urn:microsoft.com/office/officeart/2009/3/layout/HorizontalOrganizationChart"/>
    <dgm:cxn modelId="{A5C05314-99E4-4D9C-A5E5-DC2C3D49499C}" type="presParOf" srcId="{2E93130A-9444-4D53-BD77-CAA218240F42}" destId="{B8AA2A11-64AA-4FE4-9F64-0E4D555198E6}" srcOrd="0" destOrd="0" presId="urn:microsoft.com/office/officeart/2009/3/layout/HorizontalOrganizationChart"/>
    <dgm:cxn modelId="{4246D0E9-5B39-4591-8620-E157AA710054}" type="presParOf" srcId="{2E93130A-9444-4D53-BD77-CAA218240F42}" destId="{07A69A87-9540-482A-9996-68EA3C7E714E}" srcOrd="1" destOrd="0" presId="urn:microsoft.com/office/officeart/2009/3/layout/HorizontalOrganizationChart"/>
    <dgm:cxn modelId="{EACCF98D-200B-4E40-9590-BF14A123AA12}" type="presParOf" srcId="{290712CB-1DDF-4D68-9E5C-7197A0534851}" destId="{AA8EFDEF-8FD8-4933-A2B5-75D59B00BEFE}" srcOrd="1" destOrd="0" presId="urn:microsoft.com/office/officeart/2009/3/layout/HorizontalOrganizationChart"/>
    <dgm:cxn modelId="{89264FA9-4054-4BED-8D1A-B470513A08FC}" type="presParOf" srcId="{290712CB-1DDF-4D68-9E5C-7197A0534851}" destId="{6023BCC4-6DF0-4399-99E0-F319E9304DD8}" srcOrd="2" destOrd="0" presId="urn:microsoft.com/office/officeart/2009/3/layout/HorizontalOrganizationChart"/>
    <dgm:cxn modelId="{2AB98398-DF6E-44FC-AA56-D02FDF6CB868}" type="presParOf" srcId="{4BD177F1-71A5-42DC-ADD4-97EB642BC6F7}" destId="{8D9E2A64-42B6-41B5-BBB9-2B0527FD2A03}" srcOrd="2" destOrd="0" presId="urn:microsoft.com/office/officeart/2009/3/layout/HorizontalOrganizationChart"/>
    <dgm:cxn modelId="{404C9E30-A7FC-40B5-B9A5-5747CE1AF326}" type="presParOf" srcId="{5AF7821A-E4E4-49F2-8CDD-D8E21E18D6E7}" destId="{8B5217B2-D8A9-4406-95CD-193DFB136C0C}" srcOrd="2" destOrd="0" presId="urn:microsoft.com/office/officeart/2009/3/layout/HorizontalOrganizationChart"/>
    <dgm:cxn modelId="{47EE0D6D-35EE-482F-9656-EDB9A28FC491}" type="presParOf" srcId="{8B5217B2-D8A9-4406-95CD-193DFB136C0C}" destId="{96E018EA-A970-4DA3-830B-5B7BB854B367}" srcOrd="0" destOrd="0" presId="urn:microsoft.com/office/officeart/2009/3/layout/HorizontalOrganizationChart"/>
    <dgm:cxn modelId="{3ACF433C-2F0B-4126-BF74-9958FFE2086B}" type="presParOf" srcId="{96E018EA-A970-4DA3-830B-5B7BB854B367}" destId="{9FC8182C-B293-4C29-819C-5B43DEE42D86}" srcOrd="0" destOrd="0" presId="urn:microsoft.com/office/officeart/2009/3/layout/HorizontalOrganizationChart"/>
    <dgm:cxn modelId="{E980B9D6-4653-41C3-9B93-8FB05038C85C}" type="presParOf" srcId="{96E018EA-A970-4DA3-830B-5B7BB854B367}" destId="{9F0BEDB9-7DCE-4904-9629-127EC139FFBD}" srcOrd="1" destOrd="0" presId="urn:microsoft.com/office/officeart/2009/3/layout/HorizontalOrganizationChart"/>
    <dgm:cxn modelId="{0FE69A10-2EE6-45F9-8E48-10C4A3E522D6}" type="presParOf" srcId="{8B5217B2-D8A9-4406-95CD-193DFB136C0C}" destId="{A604F5CC-EA0C-465B-AA09-58BA5C447BF1}" srcOrd="1" destOrd="0" presId="urn:microsoft.com/office/officeart/2009/3/layout/HorizontalOrganizationChart"/>
    <dgm:cxn modelId="{2258F34B-AC1C-43E2-A8C5-049290B9270E}" type="presParOf" srcId="{A604F5CC-EA0C-465B-AA09-58BA5C447BF1}" destId="{8FC2B97D-DB59-4737-9207-C815A23BF65E}" srcOrd="0" destOrd="0" presId="urn:microsoft.com/office/officeart/2009/3/layout/HorizontalOrganizationChart"/>
    <dgm:cxn modelId="{CFCEE9FE-98A1-4F5A-AC8B-599236F18CA5}" type="presParOf" srcId="{A604F5CC-EA0C-465B-AA09-58BA5C447BF1}" destId="{34A0EE78-3DF5-4909-A7B6-15CBCD97511B}" srcOrd="1" destOrd="0" presId="urn:microsoft.com/office/officeart/2009/3/layout/HorizontalOrganizationChart"/>
    <dgm:cxn modelId="{2DB75343-48DF-4091-A715-8CDB943A6EC2}" type="presParOf" srcId="{34A0EE78-3DF5-4909-A7B6-15CBCD97511B}" destId="{29389128-715E-4BB8-9030-711F62B0656F}" srcOrd="0" destOrd="0" presId="urn:microsoft.com/office/officeart/2009/3/layout/HorizontalOrganizationChart"/>
    <dgm:cxn modelId="{6D8B6D12-928F-46CA-9476-EBC33023693C}" type="presParOf" srcId="{29389128-715E-4BB8-9030-711F62B0656F}" destId="{3F481A9A-E90C-4996-961E-95AB6F4713AE}" srcOrd="0" destOrd="0" presId="urn:microsoft.com/office/officeart/2009/3/layout/HorizontalOrganizationChart"/>
    <dgm:cxn modelId="{E5CFDB1C-11E8-4CD7-9CDE-1409B9CD7277}" type="presParOf" srcId="{29389128-715E-4BB8-9030-711F62B0656F}" destId="{F8C2BD55-4131-46B1-9C8F-F2A0FB0317A4}" srcOrd="1" destOrd="0" presId="urn:microsoft.com/office/officeart/2009/3/layout/HorizontalOrganizationChart"/>
    <dgm:cxn modelId="{2B8EB4A9-30AA-46A6-A8A4-3F43F590128B}" type="presParOf" srcId="{34A0EE78-3DF5-4909-A7B6-15CBCD97511B}" destId="{89649727-9223-4170-8570-F806B1255349}" srcOrd="1" destOrd="0" presId="urn:microsoft.com/office/officeart/2009/3/layout/HorizontalOrganizationChart"/>
    <dgm:cxn modelId="{78D2F8DC-BAB1-462D-9683-B24052AB8B08}" type="presParOf" srcId="{89649727-9223-4170-8570-F806B1255349}" destId="{13B287E4-143C-46B8-BB97-EE4AB23BB594}" srcOrd="0" destOrd="0" presId="urn:microsoft.com/office/officeart/2009/3/layout/HorizontalOrganizationChart"/>
    <dgm:cxn modelId="{5746B6D2-5EF7-489F-A753-F81BDAA50CD0}" type="presParOf" srcId="{89649727-9223-4170-8570-F806B1255349}" destId="{167D6D34-8479-49A9-90D8-463019E5D7C4}" srcOrd="1" destOrd="0" presId="urn:microsoft.com/office/officeart/2009/3/layout/HorizontalOrganizationChart"/>
    <dgm:cxn modelId="{538DCD53-622C-4016-B6ED-C253F5F51EC7}" type="presParOf" srcId="{167D6D34-8479-49A9-90D8-463019E5D7C4}" destId="{3D41579B-CEFC-4F48-90A9-71177D2BC668}" srcOrd="0" destOrd="0" presId="urn:microsoft.com/office/officeart/2009/3/layout/HorizontalOrganizationChart"/>
    <dgm:cxn modelId="{FE05BA31-54E5-4CD8-886C-5B7A27323B96}" type="presParOf" srcId="{3D41579B-CEFC-4F48-90A9-71177D2BC668}" destId="{819DBB63-9FFA-4E43-A6FD-4C64089534ED}" srcOrd="0" destOrd="0" presId="urn:microsoft.com/office/officeart/2009/3/layout/HorizontalOrganizationChart"/>
    <dgm:cxn modelId="{E9F7D63A-18A9-422F-8794-AFDBC93A7883}" type="presParOf" srcId="{3D41579B-CEFC-4F48-90A9-71177D2BC668}" destId="{61996124-B121-4C46-839E-B33748350A1C}" srcOrd="1" destOrd="0" presId="urn:microsoft.com/office/officeart/2009/3/layout/HorizontalOrganizationChart"/>
    <dgm:cxn modelId="{B20A6D8D-584E-4A90-BCE4-EEF7AC0E6A13}" type="presParOf" srcId="{167D6D34-8479-49A9-90D8-463019E5D7C4}" destId="{54A2FDD9-E01D-4F18-A735-3C0A31DB24C6}" srcOrd="1" destOrd="0" presId="urn:microsoft.com/office/officeart/2009/3/layout/HorizontalOrganizationChart"/>
    <dgm:cxn modelId="{98C9DBE9-3345-43A3-AB9B-BD484686E0E0}" type="presParOf" srcId="{167D6D34-8479-49A9-90D8-463019E5D7C4}" destId="{A51272A7-807E-45A4-8542-482B290D118F}" srcOrd="2" destOrd="0" presId="urn:microsoft.com/office/officeart/2009/3/layout/HorizontalOrganizationChart"/>
    <dgm:cxn modelId="{4D044F41-C8EF-42E0-852B-0E464C3B405A}" type="presParOf" srcId="{34A0EE78-3DF5-4909-A7B6-15CBCD97511B}" destId="{012871F6-A4FF-4931-B07F-977EBC7CF012}" srcOrd="2" destOrd="0" presId="urn:microsoft.com/office/officeart/2009/3/layout/HorizontalOrganizationChart"/>
    <dgm:cxn modelId="{49BCFAA5-659B-4D66-83A2-54B15B23CE07}" type="presParOf" srcId="{8B5217B2-D8A9-4406-95CD-193DFB136C0C}" destId="{FE254E6B-1A30-45E9-9FD1-F9E71E9C56CB}" srcOrd="2" destOrd="0" presId="urn:microsoft.com/office/officeart/2009/3/layout/HorizontalOrganizationChart"/>
    <dgm:cxn modelId="{F7760688-C714-4062-BCD3-9280DE25A765}" type="presParOf" srcId="{5AF7821A-E4E4-49F2-8CDD-D8E21E18D6E7}" destId="{DE52C9D7-1C26-4F2C-8884-F0161087CFEC}" srcOrd="3" destOrd="0" presId="urn:microsoft.com/office/officeart/2009/3/layout/HorizontalOrganizationChart"/>
    <dgm:cxn modelId="{92DAE057-4EDF-4C31-9C09-9143DC6D66ED}" type="presParOf" srcId="{DE52C9D7-1C26-4F2C-8884-F0161087CFEC}" destId="{2594697B-A8B0-4DF6-9B4B-C4C147C6BFE4}" srcOrd="0" destOrd="0" presId="urn:microsoft.com/office/officeart/2009/3/layout/HorizontalOrganizationChart"/>
    <dgm:cxn modelId="{822E481B-2336-4F4C-A653-A5C9E15FAC9A}" type="presParOf" srcId="{2594697B-A8B0-4DF6-9B4B-C4C147C6BFE4}" destId="{66F839EA-1216-4387-BF5F-361D2D94650D}" srcOrd="0" destOrd="0" presId="urn:microsoft.com/office/officeart/2009/3/layout/HorizontalOrganizationChart"/>
    <dgm:cxn modelId="{1585739A-611C-4BA6-8C54-9554CFD0FB07}" type="presParOf" srcId="{2594697B-A8B0-4DF6-9B4B-C4C147C6BFE4}" destId="{CFC18B94-4FBA-47CD-ABD6-749462FCC69A}" srcOrd="1" destOrd="0" presId="urn:microsoft.com/office/officeart/2009/3/layout/HorizontalOrganizationChart"/>
    <dgm:cxn modelId="{72DDA4EA-F219-46FC-B1C6-29EAE81E73E2}" type="presParOf" srcId="{DE52C9D7-1C26-4F2C-8884-F0161087CFEC}" destId="{8008F72F-2BF3-4F4B-B1AE-6D23C28FEC3F}" srcOrd="1" destOrd="0" presId="urn:microsoft.com/office/officeart/2009/3/layout/HorizontalOrganizationChart"/>
    <dgm:cxn modelId="{C26DA1C4-CCB6-404F-A7EC-12BB227044DE}" type="presParOf" srcId="{8008F72F-2BF3-4F4B-B1AE-6D23C28FEC3F}" destId="{9484AD96-A6D5-4748-969C-E4B92A970937}" srcOrd="0" destOrd="0" presId="urn:microsoft.com/office/officeart/2009/3/layout/HorizontalOrganizationChart"/>
    <dgm:cxn modelId="{5ACB8A4F-A80A-4B3C-BA9D-32DCE13C7FF5}" type="presParOf" srcId="{8008F72F-2BF3-4F4B-B1AE-6D23C28FEC3F}" destId="{F0908C13-C516-4E97-AE4F-A27E3162C72B}" srcOrd="1" destOrd="0" presId="urn:microsoft.com/office/officeart/2009/3/layout/HorizontalOrganizationChart"/>
    <dgm:cxn modelId="{A0210147-592C-4B95-8317-30EC83DA2B62}" type="presParOf" srcId="{F0908C13-C516-4E97-AE4F-A27E3162C72B}" destId="{2E81F640-154B-4417-B0A9-D6EB5324CCDA}" srcOrd="0" destOrd="0" presId="urn:microsoft.com/office/officeart/2009/3/layout/HorizontalOrganizationChart"/>
    <dgm:cxn modelId="{75CA1EE7-FD2F-421D-91E3-31306F1211C6}" type="presParOf" srcId="{2E81F640-154B-4417-B0A9-D6EB5324CCDA}" destId="{20E39DE7-734B-43EE-83E1-5DA2E5DB6F29}" srcOrd="0" destOrd="0" presId="urn:microsoft.com/office/officeart/2009/3/layout/HorizontalOrganizationChart"/>
    <dgm:cxn modelId="{E5F54747-980A-42BB-8DDC-3A8683CF52C3}" type="presParOf" srcId="{2E81F640-154B-4417-B0A9-D6EB5324CCDA}" destId="{6F1015F1-923E-445D-9DC0-CC0AADDA21B0}" srcOrd="1" destOrd="0" presId="urn:microsoft.com/office/officeart/2009/3/layout/HorizontalOrganizationChart"/>
    <dgm:cxn modelId="{E1D62997-2225-490A-B847-17C4A184FFB8}" type="presParOf" srcId="{F0908C13-C516-4E97-AE4F-A27E3162C72B}" destId="{47F9191B-8921-427D-A218-4B1FA0964AB1}" srcOrd="1" destOrd="0" presId="urn:microsoft.com/office/officeart/2009/3/layout/HorizontalOrganizationChart"/>
    <dgm:cxn modelId="{E377464D-EB74-481C-BC02-2791A688A206}" type="presParOf" srcId="{F0908C13-C516-4E97-AE4F-A27E3162C72B}" destId="{3CAB266D-C7D7-412C-A49D-595498C85A94}" srcOrd="2" destOrd="0" presId="urn:microsoft.com/office/officeart/2009/3/layout/HorizontalOrganizationChart"/>
    <dgm:cxn modelId="{91C06FD6-53F1-4C07-9D0C-FFEB9CA104FF}" type="presParOf" srcId="{DE52C9D7-1C26-4F2C-8884-F0161087CFEC}" destId="{2FCDA872-C4AD-4128-907B-23A336D4CF4F}" srcOrd="2" destOrd="0" presId="urn:microsoft.com/office/officeart/2009/3/layout/HorizontalOrganizationChart"/>
    <dgm:cxn modelId="{33D187EA-997E-4700-9BF1-D602745BD9D1}" type="presParOf" srcId="{5AF7821A-E4E4-49F2-8CDD-D8E21E18D6E7}" destId="{548E39BF-3D16-4FA0-806F-A12583432E44}" srcOrd="4" destOrd="0" presId="urn:microsoft.com/office/officeart/2009/3/layout/HorizontalOrganizationChart"/>
    <dgm:cxn modelId="{E23F9296-5B96-48A5-8E78-A0BE4FB88DCA}" type="presParOf" srcId="{548E39BF-3D16-4FA0-806F-A12583432E44}" destId="{CE63C615-46B4-4681-A9AF-FAB968BA1A11}" srcOrd="0" destOrd="0" presId="urn:microsoft.com/office/officeart/2009/3/layout/HorizontalOrganizationChart"/>
    <dgm:cxn modelId="{2E6E247B-E106-4B03-A912-F5F82BCE75F1}" type="presParOf" srcId="{CE63C615-46B4-4681-A9AF-FAB968BA1A11}" destId="{34B92687-26AF-45EB-AA9C-D562FD3F5B8B}" srcOrd="0" destOrd="0" presId="urn:microsoft.com/office/officeart/2009/3/layout/HorizontalOrganizationChart"/>
    <dgm:cxn modelId="{AE88238B-629C-4E82-8947-2BB81A192C5D}" type="presParOf" srcId="{CE63C615-46B4-4681-A9AF-FAB968BA1A11}" destId="{10904998-4AC3-4226-96FF-4468A42FBDAE}" srcOrd="1" destOrd="0" presId="urn:microsoft.com/office/officeart/2009/3/layout/HorizontalOrganizationChart"/>
    <dgm:cxn modelId="{D6F6633A-7E85-4096-8751-FB87810C0722}" type="presParOf" srcId="{548E39BF-3D16-4FA0-806F-A12583432E44}" destId="{314849F8-32DF-4E05-86A2-78390C9812CA}" srcOrd="1" destOrd="0" presId="urn:microsoft.com/office/officeart/2009/3/layout/HorizontalOrganizationChart"/>
    <dgm:cxn modelId="{E4FAD680-0839-4087-AAEB-13C959C935A0}" type="presParOf" srcId="{314849F8-32DF-4E05-86A2-78390C9812CA}" destId="{F580550D-7334-4B9E-95B2-51BB673FC8D1}" srcOrd="0" destOrd="0" presId="urn:microsoft.com/office/officeart/2009/3/layout/HorizontalOrganizationChart"/>
    <dgm:cxn modelId="{6E553439-5364-40C4-B7C3-B34839FB9F03}" type="presParOf" srcId="{314849F8-32DF-4E05-86A2-78390C9812CA}" destId="{5D024D76-02E8-4BC8-B6A7-1ED65FC22934}" srcOrd="1" destOrd="0" presId="urn:microsoft.com/office/officeart/2009/3/layout/HorizontalOrganizationChart"/>
    <dgm:cxn modelId="{7EC7005B-7829-471D-9904-9075C6B5FE5C}" type="presParOf" srcId="{5D024D76-02E8-4BC8-B6A7-1ED65FC22934}" destId="{58B89B0E-A179-4F98-A109-D527ACCA21EB}" srcOrd="0" destOrd="0" presId="urn:microsoft.com/office/officeart/2009/3/layout/HorizontalOrganizationChart"/>
    <dgm:cxn modelId="{9B7A7E4B-BF29-4E23-B0F1-BAC81444576E}" type="presParOf" srcId="{58B89B0E-A179-4F98-A109-D527ACCA21EB}" destId="{4DA49A07-9EA0-48E0-9D38-EEBB3D0A0EA8}" srcOrd="0" destOrd="0" presId="urn:microsoft.com/office/officeart/2009/3/layout/HorizontalOrganizationChart"/>
    <dgm:cxn modelId="{5444F91F-0548-40FF-85C1-FD91D29F9F0A}" type="presParOf" srcId="{58B89B0E-A179-4F98-A109-D527ACCA21EB}" destId="{791FDAA3-E3B9-44A0-A506-C5A7896959A9}" srcOrd="1" destOrd="0" presId="urn:microsoft.com/office/officeart/2009/3/layout/HorizontalOrganizationChart"/>
    <dgm:cxn modelId="{2B387BDD-8935-4A9E-B60F-C31FBD1693F7}" type="presParOf" srcId="{5D024D76-02E8-4BC8-B6A7-1ED65FC22934}" destId="{F4BAA4A6-4A8D-4FE3-BE4B-970580080373}" srcOrd="1" destOrd="0" presId="urn:microsoft.com/office/officeart/2009/3/layout/HorizontalOrganizationChart"/>
    <dgm:cxn modelId="{9FBD8E10-DC01-4A70-B2BE-721419CB4049}" type="presParOf" srcId="{F4BAA4A6-4A8D-4FE3-BE4B-970580080373}" destId="{88CBFC17-B32F-40BB-A01F-845BE2F3B3D2}" srcOrd="0" destOrd="0" presId="urn:microsoft.com/office/officeart/2009/3/layout/HorizontalOrganizationChart"/>
    <dgm:cxn modelId="{FEB3FF1A-F56F-4C88-B9D9-0ED9E8F57789}" type="presParOf" srcId="{F4BAA4A6-4A8D-4FE3-BE4B-970580080373}" destId="{497FC27D-FBFD-40FD-B143-73D58863783C}" srcOrd="1" destOrd="0" presId="urn:microsoft.com/office/officeart/2009/3/layout/HorizontalOrganizationChart"/>
    <dgm:cxn modelId="{1C1688A3-6B48-4E68-9CAD-52E4158D1019}" type="presParOf" srcId="{497FC27D-FBFD-40FD-B143-73D58863783C}" destId="{7A78D83F-1F19-49EA-A692-D8C7154E0D2A}" srcOrd="0" destOrd="0" presId="urn:microsoft.com/office/officeart/2009/3/layout/HorizontalOrganizationChart"/>
    <dgm:cxn modelId="{D6F58AD0-D948-4D5B-9F1D-6256E235ACF9}" type="presParOf" srcId="{7A78D83F-1F19-49EA-A692-D8C7154E0D2A}" destId="{185F49BA-0FB4-494E-888E-7DA48969E1D5}" srcOrd="0" destOrd="0" presId="urn:microsoft.com/office/officeart/2009/3/layout/HorizontalOrganizationChart"/>
    <dgm:cxn modelId="{45AA76C7-8D6B-42E9-A305-8EED40551C2F}" type="presParOf" srcId="{7A78D83F-1F19-49EA-A692-D8C7154E0D2A}" destId="{B807D448-C164-41F3-952C-4662C5DAB639}" srcOrd="1" destOrd="0" presId="urn:microsoft.com/office/officeart/2009/3/layout/HorizontalOrganizationChart"/>
    <dgm:cxn modelId="{62B51E60-0AA6-44B6-8D1C-ECD838B89F19}" type="presParOf" srcId="{497FC27D-FBFD-40FD-B143-73D58863783C}" destId="{41C29178-ECF4-45D7-97EE-1D8ED8D70730}" srcOrd="1" destOrd="0" presId="urn:microsoft.com/office/officeart/2009/3/layout/HorizontalOrganizationChart"/>
    <dgm:cxn modelId="{76761429-DFFD-420D-9030-4070B4C180CF}" type="presParOf" srcId="{497FC27D-FBFD-40FD-B143-73D58863783C}" destId="{C84A8BD9-3428-4B7A-98EA-1C0776D2CFCB}" srcOrd="2" destOrd="0" presId="urn:microsoft.com/office/officeart/2009/3/layout/HorizontalOrganizationChart"/>
    <dgm:cxn modelId="{54245D63-3A0D-4C78-A806-D778E9B7DCBC}" type="presParOf" srcId="{5D024D76-02E8-4BC8-B6A7-1ED65FC22934}" destId="{3EF75164-2C5D-4F1B-95FD-4DE87B539CD2}" srcOrd="2" destOrd="0" presId="urn:microsoft.com/office/officeart/2009/3/layout/HorizontalOrganizationChart"/>
    <dgm:cxn modelId="{B9577B39-DB3A-4F62-8ADA-212E9D2205E5}" type="presParOf" srcId="{548E39BF-3D16-4FA0-806F-A12583432E44}" destId="{D01537A8-DB3F-48BC-9816-2C81E1C2DE94}" srcOrd="2" destOrd="0" presId="urn:microsoft.com/office/officeart/2009/3/layout/HorizontalOrganizationChart"/>
    <dgm:cxn modelId="{9E9CEFDC-8C63-4DCA-902A-7240FE1BA733}" type="presParOf" srcId="{5AF7821A-E4E4-49F2-8CDD-D8E21E18D6E7}" destId="{07595309-A3B9-48F5-9DA7-A602069CE35A}" srcOrd="5" destOrd="0" presId="urn:microsoft.com/office/officeart/2009/3/layout/HorizontalOrganizationChart"/>
    <dgm:cxn modelId="{26F7E8C5-79BE-4ED3-86E0-98E058FE8AD9}" type="presParOf" srcId="{07595309-A3B9-48F5-9DA7-A602069CE35A}" destId="{974122BA-7B94-445E-9A7E-07E6376AF83F}" srcOrd="0" destOrd="0" presId="urn:microsoft.com/office/officeart/2009/3/layout/HorizontalOrganizationChart"/>
    <dgm:cxn modelId="{0BED92B0-C26B-4EB7-8C1B-EEDEDF4C55E8}" type="presParOf" srcId="{974122BA-7B94-445E-9A7E-07E6376AF83F}" destId="{1493CCFF-D6F7-4055-977E-E02F35F1D3DE}" srcOrd="0" destOrd="0" presId="urn:microsoft.com/office/officeart/2009/3/layout/HorizontalOrganizationChart"/>
    <dgm:cxn modelId="{B525E24B-1F09-4761-81ED-E5FEDC0EB886}" type="presParOf" srcId="{974122BA-7B94-445E-9A7E-07E6376AF83F}" destId="{33967DC3-621D-400D-945C-99F4F4EA2AAA}" srcOrd="1" destOrd="0" presId="urn:microsoft.com/office/officeart/2009/3/layout/HorizontalOrganizationChart"/>
    <dgm:cxn modelId="{B3A02E39-3C7E-475C-91DB-71FD5F1EA0D2}" type="presParOf" srcId="{07595309-A3B9-48F5-9DA7-A602069CE35A}" destId="{2859A2DD-E9BA-47AF-AA9B-6FA676AF0567}" srcOrd="1" destOrd="0" presId="urn:microsoft.com/office/officeart/2009/3/layout/HorizontalOrganizationChart"/>
    <dgm:cxn modelId="{B40B8A01-FDD9-430B-A0CF-EDED4FEBF15B}" type="presParOf" srcId="{2859A2DD-E9BA-47AF-AA9B-6FA676AF0567}" destId="{25C2574F-6633-42E9-9DE8-5FC0DBDAE680}" srcOrd="0" destOrd="0" presId="urn:microsoft.com/office/officeart/2009/3/layout/HorizontalOrganizationChart"/>
    <dgm:cxn modelId="{B5B4392B-7C76-4BE8-B0C5-E9583045105C}" type="presParOf" srcId="{2859A2DD-E9BA-47AF-AA9B-6FA676AF0567}" destId="{91A9D603-466A-43DE-9FD8-208786251578}" srcOrd="1" destOrd="0" presId="urn:microsoft.com/office/officeart/2009/3/layout/HorizontalOrganizationChart"/>
    <dgm:cxn modelId="{4700B832-CF37-4FA2-A9A1-87266D9DEEB7}" type="presParOf" srcId="{91A9D603-466A-43DE-9FD8-208786251578}" destId="{52F0CA5A-9A48-40E8-AA0C-44FA35337413}" srcOrd="0" destOrd="0" presId="urn:microsoft.com/office/officeart/2009/3/layout/HorizontalOrganizationChart"/>
    <dgm:cxn modelId="{420744C1-5782-48FF-A079-3399D50B8587}" type="presParOf" srcId="{52F0CA5A-9A48-40E8-AA0C-44FA35337413}" destId="{1E5E492B-8977-4BF8-9DC9-D4782DC096AF}" srcOrd="0" destOrd="0" presId="urn:microsoft.com/office/officeart/2009/3/layout/HorizontalOrganizationChart"/>
    <dgm:cxn modelId="{0DE07905-1A59-43B2-9E1E-319195814921}" type="presParOf" srcId="{52F0CA5A-9A48-40E8-AA0C-44FA35337413}" destId="{79FC5B86-667A-48F0-BC3B-753A77B62F21}" srcOrd="1" destOrd="0" presId="urn:microsoft.com/office/officeart/2009/3/layout/HorizontalOrganizationChart"/>
    <dgm:cxn modelId="{5AD71863-AFEB-4FFA-A796-BBF28349AE02}" type="presParOf" srcId="{91A9D603-466A-43DE-9FD8-208786251578}" destId="{C3FABB16-6986-477C-85AC-837CF6E36880}" srcOrd="1" destOrd="0" presId="urn:microsoft.com/office/officeart/2009/3/layout/HorizontalOrganizationChart"/>
    <dgm:cxn modelId="{D08D5523-C40D-44B5-A0B6-F06789C75A30}" type="presParOf" srcId="{91A9D603-466A-43DE-9FD8-208786251578}" destId="{6D803701-C068-41F9-A6E9-21BD3565B757}" srcOrd="2" destOrd="0" presId="urn:microsoft.com/office/officeart/2009/3/layout/HorizontalOrganizationChart"/>
    <dgm:cxn modelId="{98B5B6F1-402A-40E3-B7DB-3FD3B0D0224F}" type="presParOf" srcId="{07595309-A3B9-48F5-9DA7-A602069CE35A}" destId="{28492763-9DB5-4240-8B04-43476765A33E}" srcOrd="2" destOrd="0" presId="urn:microsoft.com/office/officeart/2009/3/layout/HorizontalOrganizationChart"/>
    <dgm:cxn modelId="{7FBD5C44-96CE-4789-80B1-575E237E14BE}" type="presParOf" srcId="{5AF7821A-E4E4-49F2-8CDD-D8E21E18D6E7}" destId="{001948FA-E806-4F89-8051-469D51A0BD45}" srcOrd="6" destOrd="0" presId="urn:microsoft.com/office/officeart/2009/3/layout/HorizontalOrganizationChart"/>
    <dgm:cxn modelId="{84750BCB-E9D6-477F-84E0-11542E8477D7}" type="presParOf" srcId="{001948FA-E806-4F89-8051-469D51A0BD45}" destId="{C8E4005C-8BA0-4418-9345-A28D77BDAD96}" srcOrd="0" destOrd="0" presId="urn:microsoft.com/office/officeart/2009/3/layout/HorizontalOrganizationChart"/>
    <dgm:cxn modelId="{03B7A31F-3C7E-47C4-94AE-D3725F2C8269}" type="presParOf" srcId="{C8E4005C-8BA0-4418-9345-A28D77BDAD96}" destId="{E20FA9AC-5869-494E-B466-F33A9C4E61CA}" srcOrd="0" destOrd="0" presId="urn:microsoft.com/office/officeart/2009/3/layout/HorizontalOrganizationChart"/>
    <dgm:cxn modelId="{E947B0E6-D808-4CDB-AD63-10EF40FF0E1D}" type="presParOf" srcId="{C8E4005C-8BA0-4418-9345-A28D77BDAD96}" destId="{901DDE90-9F46-4960-83B6-2953376473B2}" srcOrd="1" destOrd="0" presId="urn:microsoft.com/office/officeart/2009/3/layout/HorizontalOrganizationChart"/>
    <dgm:cxn modelId="{F0F17220-D5FD-4E9F-A1D9-872907128132}" type="presParOf" srcId="{001948FA-E806-4F89-8051-469D51A0BD45}" destId="{AA74E880-8463-48A8-92B4-64B031D88D92}" srcOrd="1" destOrd="0" presId="urn:microsoft.com/office/officeart/2009/3/layout/HorizontalOrganizationChart"/>
    <dgm:cxn modelId="{04815FEB-535C-42AE-9A89-4A7F72C8A7BD}" type="presParOf" srcId="{AA74E880-8463-48A8-92B4-64B031D88D92}" destId="{84F78CD9-9F9D-4D64-A026-AF50DDC2F137}" srcOrd="0" destOrd="0" presId="urn:microsoft.com/office/officeart/2009/3/layout/HorizontalOrganizationChart"/>
    <dgm:cxn modelId="{01110C5F-E222-4F83-892B-02F8A470DB9D}" type="presParOf" srcId="{AA74E880-8463-48A8-92B4-64B031D88D92}" destId="{6ABE3FC4-A456-4536-BC85-D3DED5D8050C}" srcOrd="1" destOrd="0" presId="urn:microsoft.com/office/officeart/2009/3/layout/HorizontalOrganizationChart"/>
    <dgm:cxn modelId="{08CB8AFE-1C87-4037-B2A1-385A5C576DAD}" type="presParOf" srcId="{6ABE3FC4-A456-4536-BC85-D3DED5D8050C}" destId="{C94819F5-2AF4-488E-8BEA-64213FCED75A}" srcOrd="0" destOrd="0" presId="urn:microsoft.com/office/officeart/2009/3/layout/HorizontalOrganizationChart"/>
    <dgm:cxn modelId="{84290848-6C91-4710-9388-6BA883A4C6CB}" type="presParOf" srcId="{C94819F5-2AF4-488E-8BEA-64213FCED75A}" destId="{CE2D37E2-D65F-4650-8433-20B5E5B6F000}" srcOrd="0" destOrd="0" presId="urn:microsoft.com/office/officeart/2009/3/layout/HorizontalOrganizationChart"/>
    <dgm:cxn modelId="{6E8B7210-E4DE-4E1F-9B82-D4C55D772D05}" type="presParOf" srcId="{C94819F5-2AF4-488E-8BEA-64213FCED75A}" destId="{BD66ED11-FD0D-44C4-BB6D-A4A6C065EEC8}" srcOrd="1" destOrd="0" presId="urn:microsoft.com/office/officeart/2009/3/layout/HorizontalOrganizationChart"/>
    <dgm:cxn modelId="{8BEAEBDC-0688-473E-A2FA-6FB56F663ADA}" type="presParOf" srcId="{6ABE3FC4-A456-4536-BC85-D3DED5D8050C}" destId="{DDE22BA7-45D3-4153-9B63-8E4FA95344F2}" srcOrd="1" destOrd="0" presId="urn:microsoft.com/office/officeart/2009/3/layout/HorizontalOrganizationChart"/>
    <dgm:cxn modelId="{CB518888-9597-4F59-BD3E-ED60C47ACF10}" type="presParOf" srcId="{6ABE3FC4-A456-4536-BC85-D3DED5D8050C}" destId="{19A0FBA7-678C-4801-A1C8-FDAED942DEEC}" srcOrd="2" destOrd="0" presId="urn:microsoft.com/office/officeart/2009/3/layout/HorizontalOrganizationChart"/>
    <dgm:cxn modelId="{CA36A5E9-5B3B-44FE-A8E0-2CFE03031E07}" type="presParOf" srcId="{001948FA-E806-4F89-8051-469D51A0BD45}" destId="{225835DC-E7D0-4804-AD37-B27C38FB041A}" srcOrd="2" destOrd="0" presId="urn:microsoft.com/office/officeart/2009/3/layout/HorizontalOrganizationChart"/>
    <dgm:cxn modelId="{F5C5CED3-84F8-4592-966E-5FC0A74BAE4C}" type="presParOf" srcId="{5AF7821A-E4E4-49F2-8CDD-D8E21E18D6E7}" destId="{3E636D31-33E2-4336-8CE8-48CDB8BE4E4D}" srcOrd="7" destOrd="0" presId="urn:microsoft.com/office/officeart/2009/3/layout/HorizontalOrganizationChart"/>
    <dgm:cxn modelId="{8E68612A-25DF-4EB3-8FAC-F6350450A22E}" type="presParOf" srcId="{3E636D31-33E2-4336-8CE8-48CDB8BE4E4D}" destId="{E95A3DCB-4E2D-4D79-8531-81198CC3A830}" srcOrd="0" destOrd="0" presId="urn:microsoft.com/office/officeart/2009/3/layout/HorizontalOrganizationChart"/>
    <dgm:cxn modelId="{A16180F2-2307-4AF0-BFF4-7C479C7C47F1}" type="presParOf" srcId="{E95A3DCB-4E2D-4D79-8531-81198CC3A830}" destId="{62A470D0-C165-4541-8F24-C466D65C0EB6}" srcOrd="0" destOrd="0" presId="urn:microsoft.com/office/officeart/2009/3/layout/HorizontalOrganizationChart"/>
    <dgm:cxn modelId="{94DD7026-C810-4A3F-B854-477C31EC33BD}" type="presParOf" srcId="{E95A3DCB-4E2D-4D79-8531-81198CC3A830}" destId="{42787AE4-2E94-4013-BB43-547398F8F0CE}" srcOrd="1" destOrd="0" presId="urn:microsoft.com/office/officeart/2009/3/layout/HorizontalOrganizationChart"/>
    <dgm:cxn modelId="{2860F041-FF44-4056-B06B-7DF04734849B}" type="presParOf" srcId="{3E636D31-33E2-4336-8CE8-48CDB8BE4E4D}" destId="{A6C8C666-8442-4A88-ABB2-AFE8B1FAD0DC}" srcOrd="1" destOrd="0" presId="urn:microsoft.com/office/officeart/2009/3/layout/HorizontalOrganizationChart"/>
    <dgm:cxn modelId="{1D5B68D1-1695-4D60-9A13-7467FEA15FAD}" type="presParOf" srcId="{A6C8C666-8442-4A88-ABB2-AFE8B1FAD0DC}" destId="{38A77848-2E57-4687-A6E6-6C91FAAE6A5E}" srcOrd="0" destOrd="0" presId="urn:microsoft.com/office/officeart/2009/3/layout/HorizontalOrganizationChart"/>
    <dgm:cxn modelId="{95727F39-2CF9-405E-AD1F-3B972467AABB}" type="presParOf" srcId="{A6C8C666-8442-4A88-ABB2-AFE8B1FAD0DC}" destId="{6E85C9CF-0861-44CD-9DE8-58A371458C38}" srcOrd="1" destOrd="0" presId="urn:microsoft.com/office/officeart/2009/3/layout/HorizontalOrganizationChart"/>
    <dgm:cxn modelId="{93048677-4665-403D-B8ED-1FF1BC91965B}" type="presParOf" srcId="{6E85C9CF-0861-44CD-9DE8-58A371458C38}" destId="{46F3797A-E0C5-4AEC-93BF-FA9767EF4119}" srcOrd="0" destOrd="0" presId="urn:microsoft.com/office/officeart/2009/3/layout/HorizontalOrganizationChart"/>
    <dgm:cxn modelId="{A0E4647D-04EF-4A99-B504-A37FB2E7EFE2}" type="presParOf" srcId="{46F3797A-E0C5-4AEC-93BF-FA9767EF4119}" destId="{FF3A130B-52BD-4D32-B131-5AD287958039}" srcOrd="0" destOrd="0" presId="urn:microsoft.com/office/officeart/2009/3/layout/HorizontalOrganizationChart"/>
    <dgm:cxn modelId="{5A83F5B7-9BF8-46EB-A6A3-998CD0532773}" type="presParOf" srcId="{46F3797A-E0C5-4AEC-93BF-FA9767EF4119}" destId="{2627D3DD-04F5-42AD-86C4-9401F0F5DBB9}" srcOrd="1" destOrd="0" presId="urn:microsoft.com/office/officeart/2009/3/layout/HorizontalOrganizationChart"/>
    <dgm:cxn modelId="{FEBE9339-AE6B-422D-8C68-8399A2096DE5}" type="presParOf" srcId="{6E85C9CF-0861-44CD-9DE8-58A371458C38}" destId="{B5906F6A-C862-4C0E-B2AD-B97942DB2557}" srcOrd="1" destOrd="0" presId="urn:microsoft.com/office/officeart/2009/3/layout/HorizontalOrganizationChart"/>
    <dgm:cxn modelId="{F53D38A6-CA98-44C6-A1A3-F14E570E366A}" type="presParOf" srcId="{B5906F6A-C862-4C0E-B2AD-B97942DB2557}" destId="{D2F21566-B71B-4DB4-8B71-6AD821F912EA}" srcOrd="0" destOrd="0" presId="urn:microsoft.com/office/officeart/2009/3/layout/HorizontalOrganizationChart"/>
    <dgm:cxn modelId="{B28711FB-8BB8-43C7-90E8-7B9C418941C0}" type="presParOf" srcId="{B5906F6A-C862-4C0E-B2AD-B97942DB2557}" destId="{05C39425-8D13-491D-8F03-97313411EC95}" srcOrd="1" destOrd="0" presId="urn:microsoft.com/office/officeart/2009/3/layout/HorizontalOrganizationChart"/>
    <dgm:cxn modelId="{E717D7D5-359C-4584-97FF-991DEF7E1D07}" type="presParOf" srcId="{05C39425-8D13-491D-8F03-97313411EC95}" destId="{A76A0B2E-D644-4786-AA52-2112E0D2F8AC}" srcOrd="0" destOrd="0" presId="urn:microsoft.com/office/officeart/2009/3/layout/HorizontalOrganizationChart"/>
    <dgm:cxn modelId="{BC8B0AFE-FFF3-4B9D-95BE-F19232417940}" type="presParOf" srcId="{A76A0B2E-D644-4786-AA52-2112E0D2F8AC}" destId="{099675E6-4990-449E-B27E-40BEA05A83D6}" srcOrd="0" destOrd="0" presId="urn:microsoft.com/office/officeart/2009/3/layout/HorizontalOrganizationChart"/>
    <dgm:cxn modelId="{3E8EFD1F-8C68-4ED9-863E-E2F5E2BE4EDE}" type="presParOf" srcId="{A76A0B2E-D644-4786-AA52-2112E0D2F8AC}" destId="{09C3C495-1B83-4181-89F0-E6D3004CEB2F}" srcOrd="1" destOrd="0" presId="urn:microsoft.com/office/officeart/2009/3/layout/HorizontalOrganizationChart"/>
    <dgm:cxn modelId="{E8E928A3-1156-4476-8F1C-0E5008ED68C6}" type="presParOf" srcId="{05C39425-8D13-491D-8F03-97313411EC95}" destId="{D0413F03-A93F-4BB8-9C74-6712ACF2F4D5}" srcOrd="1" destOrd="0" presId="urn:microsoft.com/office/officeart/2009/3/layout/HorizontalOrganizationChart"/>
    <dgm:cxn modelId="{C3817C18-391B-4C28-A61B-C3C525A8313E}" type="presParOf" srcId="{05C39425-8D13-491D-8F03-97313411EC95}" destId="{B362C812-ECE4-48B2-BF24-40B9F2BE0354}" srcOrd="2" destOrd="0" presId="urn:microsoft.com/office/officeart/2009/3/layout/HorizontalOrganizationChart"/>
    <dgm:cxn modelId="{049CADB0-10F5-4E87-8315-2091855DFE74}" type="presParOf" srcId="{6E85C9CF-0861-44CD-9DE8-58A371458C38}" destId="{C5D3E79A-85EF-47C3-8B87-E7ABF046A42E}" srcOrd="2" destOrd="0" presId="urn:microsoft.com/office/officeart/2009/3/layout/HorizontalOrganizationChart"/>
    <dgm:cxn modelId="{B287DCA6-9942-4F6C-B03E-2E8DEBB59D3C}" type="presParOf" srcId="{3E636D31-33E2-4336-8CE8-48CDB8BE4E4D}" destId="{620CB1C5-98BD-4E18-8977-4D47B21140C8}" srcOrd="2" destOrd="0" presId="urn:microsoft.com/office/officeart/2009/3/layout/HorizontalOrganizationChart"/>
    <dgm:cxn modelId="{11AD43AA-07A9-47A1-B559-DFEAEB0E3690}" type="presParOf" srcId="{5AF7821A-E4E4-49F2-8CDD-D8E21E18D6E7}" destId="{C1EE2641-92FB-4FA8-B47E-769338925519}" srcOrd="8" destOrd="0" presId="urn:microsoft.com/office/officeart/2009/3/layout/HorizontalOrganizationChart"/>
    <dgm:cxn modelId="{669B898E-ADE5-4B5C-BF2A-AA22E0652AEC}" type="presParOf" srcId="{C1EE2641-92FB-4FA8-B47E-769338925519}" destId="{450D6038-FE0C-4F37-A841-32C5994283D7}" srcOrd="0" destOrd="0" presId="urn:microsoft.com/office/officeart/2009/3/layout/HorizontalOrganizationChart"/>
    <dgm:cxn modelId="{D81CC318-86B5-4003-97E5-F0B11932AC38}" type="presParOf" srcId="{450D6038-FE0C-4F37-A841-32C5994283D7}" destId="{7E49BADF-7699-47C5-82B9-00203BAE3D05}" srcOrd="0" destOrd="0" presId="urn:microsoft.com/office/officeart/2009/3/layout/HorizontalOrganizationChart"/>
    <dgm:cxn modelId="{32B3B3BF-FA2F-4FD6-8B36-9158CF665406}" type="presParOf" srcId="{450D6038-FE0C-4F37-A841-32C5994283D7}" destId="{099A95EB-AB3B-4D2F-914C-1F080595884C}" srcOrd="1" destOrd="0" presId="urn:microsoft.com/office/officeart/2009/3/layout/HorizontalOrganizationChart"/>
    <dgm:cxn modelId="{7633DB0B-78D4-4C99-99C6-8282F2A57269}" type="presParOf" srcId="{C1EE2641-92FB-4FA8-B47E-769338925519}" destId="{594EBDD6-86A7-40C3-9DAD-446448BE4079}" srcOrd="1" destOrd="0" presId="urn:microsoft.com/office/officeart/2009/3/layout/HorizontalOrganizationChart"/>
    <dgm:cxn modelId="{8195B8D4-D79A-4211-9163-46C38FC12FF7}" type="presParOf" srcId="{594EBDD6-86A7-40C3-9DAD-446448BE4079}" destId="{3C1A2501-9F7B-4F3E-A068-160271F1438C}" srcOrd="0" destOrd="0" presId="urn:microsoft.com/office/officeart/2009/3/layout/HorizontalOrganizationChart"/>
    <dgm:cxn modelId="{12326800-CABF-4EB1-8940-18EEC3C5F379}" type="presParOf" srcId="{594EBDD6-86A7-40C3-9DAD-446448BE4079}" destId="{327DE797-4EA0-41E1-86CA-767F9898635F}" srcOrd="1" destOrd="0" presId="urn:microsoft.com/office/officeart/2009/3/layout/HorizontalOrganizationChart"/>
    <dgm:cxn modelId="{F2409188-6F65-47F1-9DFB-040DE274179C}" type="presParOf" srcId="{327DE797-4EA0-41E1-86CA-767F9898635F}" destId="{3F45AD17-0C92-473F-A804-3945C4F06565}" srcOrd="0" destOrd="0" presId="urn:microsoft.com/office/officeart/2009/3/layout/HorizontalOrganizationChart"/>
    <dgm:cxn modelId="{5F14DD1C-7AD7-4210-A9BD-5A47BDB25329}" type="presParOf" srcId="{3F45AD17-0C92-473F-A804-3945C4F06565}" destId="{C59D1964-10A1-4939-9773-3412B26227FF}" srcOrd="0" destOrd="0" presId="urn:microsoft.com/office/officeart/2009/3/layout/HorizontalOrganizationChart"/>
    <dgm:cxn modelId="{79310434-07AA-44BD-92ED-CC904C7F915C}" type="presParOf" srcId="{3F45AD17-0C92-473F-A804-3945C4F06565}" destId="{CA7DB183-51F4-4ACD-9E08-183539A19133}" srcOrd="1" destOrd="0" presId="urn:microsoft.com/office/officeart/2009/3/layout/HorizontalOrganizationChart"/>
    <dgm:cxn modelId="{CEED6B47-97D0-4E21-8E0A-EC0936FAE01B}" type="presParOf" srcId="{327DE797-4EA0-41E1-86CA-767F9898635F}" destId="{78EF0278-6E18-4943-8E3B-E3820562FE4A}" srcOrd="1" destOrd="0" presId="urn:microsoft.com/office/officeart/2009/3/layout/HorizontalOrganizationChart"/>
    <dgm:cxn modelId="{FB28759F-76C7-4B0A-B421-949FE39A7E91}" type="presParOf" srcId="{78EF0278-6E18-4943-8E3B-E3820562FE4A}" destId="{7B81495F-33BB-448D-B55F-1F3EA6A5E543}" srcOrd="0" destOrd="0" presId="urn:microsoft.com/office/officeart/2009/3/layout/HorizontalOrganizationChart"/>
    <dgm:cxn modelId="{7337406D-64A9-41F2-9FB2-37FEE51A553F}" type="presParOf" srcId="{78EF0278-6E18-4943-8E3B-E3820562FE4A}" destId="{B867FB84-EC51-4091-B95D-402717C24D78}" srcOrd="1" destOrd="0" presId="urn:microsoft.com/office/officeart/2009/3/layout/HorizontalOrganizationChart"/>
    <dgm:cxn modelId="{46012006-34CA-4B03-9824-44F9A8FB5B13}" type="presParOf" srcId="{B867FB84-EC51-4091-B95D-402717C24D78}" destId="{0BD9BE88-FBB1-4E2B-B3F7-97A38595923A}" srcOrd="0" destOrd="0" presId="urn:microsoft.com/office/officeart/2009/3/layout/HorizontalOrganizationChart"/>
    <dgm:cxn modelId="{9B565750-2506-4EEE-86A0-705E04D4A353}" type="presParOf" srcId="{0BD9BE88-FBB1-4E2B-B3F7-97A38595923A}" destId="{AB977356-973A-4AF3-B9BD-6DE402EA5DD9}" srcOrd="0" destOrd="0" presId="urn:microsoft.com/office/officeart/2009/3/layout/HorizontalOrganizationChart"/>
    <dgm:cxn modelId="{0F789C94-F6A3-4C2B-B5AA-05469B60F5B2}" type="presParOf" srcId="{0BD9BE88-FBB1-4E2B-B3F7-97A38595923A}" destId="{76E5045E-C576-415E-93AD-F4CB348B9F01}" srcOrd="1" destOrd="0" presId="urn:microsoft.com/office/officeart/2009/3/layout/HorizontalOrganizationChart"/>
    <dgm:cxn modelId="{E81A9FE7-2965-40AB-9FBC-27B6B7DF8FE1}" type="presParOf" srcId="{B867FB84-EC51-4091-B95D-402717C24D78}" destId="{1DB7379D-228B-401B-B249-F2915A61F08B}" srcOrd="1" destOrd="0" presId="urn:microsoft.com/office/officeart/2009/3/layout/HorizontalOrganizationChart"/>
    <dgm:cxn modelId="{5DD722B3-DD05-4BEF-87C5-BC71C57BA461}" type="presParOf" srcId="{B867FB84-EC51-4091-B95D-402717C24D78}" destId="{7B2B698A-55F0-4A39-BD85-C229B72EF1F8}" srcOrd="2" destOrd="0" presId="urn:microsoft.com/office/officeart/2009/3/layout/HorizontalOrganizationChart"/>
    <dgm:cxn modelId="{F6700F12-57D5-427E-B343-D9300D5AAD0A}" type="presParOf" srcId="{327DE797-4EA0-41E1-86CA-767F9898635F}" destId="{343A1E0F-0C1C-42F1-AAD3-8EF1FD3F0566}" srcOrd="2" destOrd="0" presId="urn:microsoft.com/office/officeart/2009/3/layout/HorizontalOrganizationChart"/>
    <dgm:cxn modelId="{E1CAF380-5001-4018-9671-1D1B5B431B10}" type="presParOf" srcId="{C1EE2641-92FB-4FA8-B47E-769338925519}" destId="{909D3183-362D-43FC-A432-4A299E00592D}" srcOrd="2" destOrd="0" presId="urn:microsoft.com/office/officeart/2009/3/layout/HorizontalOrganizationChart"/>
    <dgm:cxn modelId="{66D99251-290F-4BB2-A7E1-239BCE0BED48}" type="presParOf" srcId="{5AF7821A-E4E4-49F2-8CDD-D8E21E18D6E7}" destId="{C8A5F0C9-5C59-486F-8F5F-8553061CAD05}" srcOrd="9" destOrd="0" presId="urn:microsoft.com/office/officeart/2009/3/layout/HorizontalOrganizationChart"/>
    <dgm:cxn modelId="{DEC1F7A4-24D2-4A2F-AAE1-AC6AD3B3C61C}" type="presParOf" srcId="{C8A5F0C9-5C59-486F-8F5F-8553061CAD05}" destId="{2F67D61B-70C4-44EB-AC51-65FB2B8BDB7F}" srcOrd="0" destOrd="0" presId="urn:microsoft.com/office/officeart/2009/3/layout/HorizontalOrganizationChart"/>
    <dgm:cxn modelId="{A3A5CCD2-3BBF-426A-985E-57831398E450}" type="presParOf" srcId="{2F67D61B-70C4-44EB-AC51-65FB2B8BDB7F}" destId="{55C73A3A-F559-4CFF-B10F-92972CF5F897}" srcOrd="0" destOrd="0" presId="urn:microsoft.com/office/officeart/2009/3/layout/HorizontalOrganizationChart"/>
    <dgm:cxn modelId="{B12588BF-F56A-45F7-9C00-DF64DDB938F9}" type="presParOf" srcId="{2F67D61B-70C4-44EB-AC51-65FB2B8BDB7F}" destId="{49DB96F7-9AE4-49FD-87C9-C40259A96E40}" srcOrd="1" destOrd="0" presId="urn:microsoft.com/office/officeart/2009/3/layout/HorizontalOrganizationChart"/>
    <dgm:cxn modelId="{73D091CA-CB21-4DAA-B735-62482FEADA50}" type="presParOf" srcId="{C8A5F0C9-5C59-486F-8F5F-8553061CAD05}" destId="{34389A6C-1EF5-4545-9455-0B105087F315}" srcOrd="1" destOrd="0" presId="urn:microsoft.com/office/officeart/2009/3/layout/HorizontalOrganizationChart"/>
    <dgm:cxn modelId="{64305F47-32EA-4694-AC98-A1557A897723}" type="presParOf" srcId="{34389A6C-1EF5-4545-9455-0B105087F315}" destId="{6B3A0DF8-B189-4EDA-928D-B026171DAD90}" srcOrd="0" destOrd="0" presId="urn:microsoft.com/office/officeart/2009/3/layout/HorizontalOrganizationChart"/>
    <dgm:cxn modelId="{741FA81D-4D88-46CC-9CBD-F4488A3ABF0E}" type="presParOf" srcId="{34389A6C-1EF5-4545-9455-0B105087F315}" destId="{89732662-3B2A-489A-B02B-FCD4DEA439E2}" srcOrd="1" destOrd="0" presId="urn:microsoft.com/office/officeart/2009/3/layout/HorizontalOrganizationChart"/>
    <dgm:cxn modelId="{847F22DA-40A0-44F5-8517-66C0B9366290}" type="presParOf" srcId="{89732662-3B2A-489A-B02B-FCD4DEA439E2}" destId="{140DEE5E-4662-4359-9234-EDFD3DCB0F22}" srcOrd="0" destOrd="0" presId="urn:microsoft.com/office/officeart/2009/3/layout/HorizontalOrganizationChart"/>
    <dgm:cxn modelId="{2378B102-5FC0-45C2-AFE9-256466830539}" type="presParOf" srcId="{140DEE5E-4662-4359-9234-EDFD3DCB0F22}" destId="{5BF27B3F-FE56-482B-A094-9C17F8FB509D}" srcOrd="0" destOrd="0" presId="urn:microsoft.com/office/officeart/2009/3/layout/HorizontalOrganizationChart"/>
    <dgm:cxn modelId="{9D4156EB-573A-4F10-AFE7-274EE805BCB9}" type="presParOf" srcId="{140DEE5E-4662-4359-9234-EDFD3DCB0F22}" destId="{B8929FA0-BEFA-4848-9504-7E7AAEB252D6}" srcOrd="1" destOrd="0" presId="urn:microsoft.com/office/officeart/2009/3/layout/HorizontalOrganizationChart"/>
    <dgm:cxn modelId="{FAF7A462-D25F-4985-9AE5-3BDAE593F076}" type="presParOf" srcId="{89732662-3B2A-489A-B02B-FCD4DEA439E2}" destId="{17C4491F-FDEB-4F3B-AE4F-C26235B7C948}" srcOrd="1" destOrd="0" presId="urn:microsoft.com/office/officeart/2009/3/layout/HorizontalOrganizationChart"/>
    <dgm:cxn modelId="{C7C63991-F92C-415F-AF46-A416A03E4F58}" type="presParOf" srcId="{89732662-3B2A-489A-B02B-FCD4DEA439E2}" destId="{7A97E6B7-C977-4882-A72D-DE86A9550DE1}" srcOrd="2" destOrd="0" presId="urn:microsoft.com/office/officeart/2009/3/layout/HorizontalOrganizationChart"/>
    <dgm:cxn modelId="{75ECFDB2-B5FE-4780-801D-D40B7E3000BA}" type="presParOf" srcId="{C8A5F0C9-5C59-486F-8F5F-8553061CAD05}" destId="{94EDDE7F-9969-4222-AA2E-4F6D07FF390D}" srcOrd="2" destOrd="0" presId="urn:microsoft.com/office/officeart/2009/3/layout/HorizontalOrganizationChar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D0D810A-461B-43AB-9074-9E97C0408D20}" type="doc">
      <dgm:prSet loTypeId="urn:microsoft.com/office/officeart/2009/3/layout/HorizontalOrganizationChart" loCatId="hierarchy" qsTypeId="urn:microsoft.com/office/officeart/2005/8/quickstyle/simple1" qsCatId="simple" csTypeId="urn:microsoft.com/office/officeart/2005/8/colors/accent2_2" csCatId="accent2" phldr="1"/>
      <dgm:spPr/>
      <dgm:t>
        <a:bodyPr/>
        <a:lstStyle/>
        <a:p>
          <a:endParaRPr lang="en-US"/>
        </a:p>
      </dgm:t>
    </dgm:pt>
    <dgm:pt modelId="{08EED27D-B691-455A-8D11-8D4400592106}">
      <dgm:prSet phldrT="[Text]" custT="1"/>
      <dgm:spPr>
        <a:ln>
          <a:noFill/>
        </a:ln>
      </dgm:spPr>
      <dgm:t>
        <a:bodyPr/>
        <a:lstStyle/>
        <a:p>
          <a:r>
            <a:rPr lang="en-US" sz="1200" b="1" dirty="0"/>
            <a:t>1115 waiver</a:t>
          </a:r>
        </a:p>
      </dgm:t>
    </dgm:pt>
    <dgm:pt modelId="{1BD718C0-8E31-4C02-8936-3DC9E7EB711A}" type="parTrans" cxnId="{A3225DBE-FBF4-4CA6-9910-43E74A7EDDCD}">
      <dgm:prSet/>
      <dgm:spPr/>
      <dgm:t>
        <a:bodyPr/>
        <a:lstStyle/>
        <a:p>
          <a:endParaRPr lang="en-US" sz="1200" b="1"/>
        </a:p>
      </dgm:t>
    </dgm:pt>
    <dgm:pt modelId="{7B5F34EC-77F8-4B43-BB2C-33BBF5B01984}" type="sibTrans" cxnId="{A3225DBE-FBF4-4CA6-9910-43E74A7EDDCD}">
      <dgm:prSet/>
      <dgm:spPr/>
      <dgm:t>
        <a:bodyPr/>
        <a:lstStyle/>
        <a:p>
          <a:endParaRPr lang="en-US" sz="1200" b="1"/>
        </a:p>
      </dgm:t>
    </dgm:pt>
    <dgm:pt modelId="{25689892-4E7D-40AA-A673-4C1F0CF0FA5A}">
      <dgm:prSet phldrT="[Text]" custT="1"/>
      <dgm:spPr>
        <a:noFill/>
        <a:ln>
          <a:noFill/>
        </a:ln>
      </dgm:spPr>
      <dgm:t>
        <a:bodyPr/>
        <a:lstStyle/>
        <a:p>
          <a:pPr marL="0" indent="0"/>
          <a:r>
            <a:rPr lang="en-US" sz="1200" b="1" dirty="0">
              <a:solidFill>
                <a:sysClr val="windowText" lastClr="000000"/>
              </a:solidFill>
            </a:rPr>
            <a:t>Approved</a:t>
          </a:r>
        </a:p>
      </dgm:t>
    </dgm:pt>
    <dgm:pt modelId="{F777E9C7-1812-46A8-9B44-36F638B989E3}" type="parTrans" cxnId="{F0341BD8-469F-4A6C-83F6-86DEA6671799}">
      <dgm:prSet/>
      <dgm:spPr>
        <a:ln>
          <a:noFill/>
        </a:ln>
      </dgm:spPr>
      <dgm:t>
        <a:bodyPr/>
        <a:lstStyle/>
        <a:p>
          <a:endParaRPr lang="en-US" sz="1200" b="1"/>
        </a:p>
      </dgm:t>
    </dgm:pt>
    <dgm:pt modelId="{32D3F911-C848-4633-AE9B-C684A3E2D4A0}" type="sibTrans" cxnId="{F0341BD8-469F-4A6C-83F6-86DEA6671799}">
      <dgm:prSet/>
      <dgm:spPr/>
      <dgm:t>
        <a:bodyPr/>
        <a:lstStyle/>
        <a:p>
          <a:endParaRPr lang="en-US" sz="1200" b="1"/>
        </a:p>
      </dgm:t>
    </dgm:pt>
    <dgm:pt modelId="{374E3B40-BBBE-480A-AFB4-88D490633E79}">
      <dgm:prSet phldrT="[Text]" custT="1"/>
      <dgm:spPr>
        <a:ln>
          <a:noFill/>
        </a:ln>
      </dgm:spPr>
      <dgm:t>
        <a:bodyPr/>
        <a:lstStyle/>
        <a:p>
          <a:r>
            <a:rPr lang="en-US" sz="1200" b="1" dirty="0"/>
            <a:t>1115 waiver</a:t>
          </a:r>
        </a:p>
      </dgm:t>
    </dgm:pt>
    <dgm:pt modelId="{3C2134FB-03F5-408F-A3E8-366E7D03A159}" type="sibTrans" cxnId="{D35A7518-0072-4221-9867-FBFE00A0D2B6}">
      <dgm:prSet/>
      <dgm:spPr/>
      <dgm:t>
        <a:bodyPr/>
        <a:lstStyle/>
        <a:p>
          <a:endParaRPr lang="en-US" sz="1200" b="1"/>
        </a:p>
      </dgm:t>
    </dgm:pt>
    <dgm:pt modelId="{7CD24F9D-E1BB-408F-AAA9-2DE54AABDB4B}" type="parTrans" cxnId="{D35A7518-0072-4221-9867-FBFE00A0D2B6}">
      <dgm:prSet/>
      <dgm:spPr/>
      <dgm:t>
        <a:bodyPr/>
        <a:lstStyle/>
        <a:p>
          <a:endParaRPr lang="en-US" sz="1200" b="1"/>
        </a:p>
      </dgm:t>
    </dgm:pt>
    <dgm:pt modelId="{EF3D876D-3EE3-4D07-AAFA-45A65E67153D}">
      <dgm:prSet phldrT="[Text]" custT="1"/>
      <dgm:spPr>
        <a:noFill/>
        <a:ln>
          <a:noFill/>
        </a:ln>
      </dgm:spPr>
      <dgm:t>
        <a:bodyPr/>
        <a:lstStyle/>
        <a:p>
          <a:pPr marL="0" indent="0"/>
          <a:r>
            <a:rPr lang="en-US" sz="1200" b="1" dirty="0">
              <a:solidFill>
                <a:sysClr val="windowText" lastClr="000000"/>
              </a:solidFill>
            </a:rPr>
            <a:t>Denied</a:t>
          </a:r>
        </a:p>
      </dgm:t>
    </dgm:pt>
    <dgm:pt modelId="{6E609385-C993-4BC2-9C17-F960FE135F9E}" type="parTrans" cxnId="{37262148-BB0F-4AAE-93EB-D71C43F7ABA1}">
      <dgm:prSet/>
      <dgm:spPr>
        <a:ln>
          <a:noFill/>
        </a:ln>
      </dgm:spPr>
      <dgm:t>
        <a:bodyPr/>
        <a:lstStyle/>
        <a:p>
          <a:endParaRPr lang="en-US" sz="1200" b="1"/>
        </a:p>
      </dgm:t>
    </dgm:pt>
    <dgm:pt modelId="{4FECF614-695B-4D39-A080-4F84C9ACE92B}" type="sibTrans" cxnId="{37262148-BB0F-4AAE-93EB-D71C43F7ABA1}">
      <dgm:prSet/>
      <dgm:spPr/>
      <dgm:t>
        <a:bodyPr/>
        <a:lstStyle/>
        <a:p>
          <a:endParaRPr lang="en-US" sz="1200" b="1"/>
        </a:p>
      </dgm:t>
    </dgm:pt>
    <dgm:pt modelId="{5CC210C8-5E6E-48F0-8FD0-6A866839FB6B}">
      <dgm:prSet phldrT="[Text]" custT="1"/>
      <dgm:spPr>
        <a:solidFill>
          <a:schemeClr val="bg1">
            <a:lumMod val="50000"/>
          </a:schemeClr>
        </a:solidFill>
        <a:ln>
          <a:noFill/>
        </a:ln>
      </dgm:spPr>
      <dgm:t>
        <a:bodyPr/>
        <a:lstStyle/>
        <a:p>
          <a:r>
            <a:rPr lang="en-US" sz="1200" b="1" dirty="0"/>
            <a:t>No expansion</a:t>
          </a:r>
        </a:p>
      </dgm:t>
    </dgm:pt>
    <dgm:pt modelId="{A20406A2-2D7C-4A2D-8277-F2D7CFFC3989}" type="parTrans" cxnId="{6D197EFA-E970-4CA7-BFDB-12014368DE9A}">
      <dgm:prSet/>
      <dgm:spPr>
        <a:ln>
          <a:noFill/>
        </a:ln>
      </dgm:spPr>
      <dgm:t>
        <a:bodyPr/>
        <a:lstStyle/>
        <a:p>
          <a:endParaRPr lang="en-US" sz="1200" b="1"/>
        </a:p>
      </dgm:t>
    </dgm:pt>
    <dgm:pt modelId="{C531265A-64F9-4D92-A7AB-716575731EBF}" type="sibTrans" cxnId="{6D197EFA-E970-4CA7-BFDB-12014368DE9A}">
      <dgm:prSet/>
      <dgm:spPr/>
      <dgm:t>
        <a:bodyPr/>
        <a:lstStyle/>
        <a:p>
          <a:endParaRPr lang="en-US" sz="1200" b="1"/>
        </a:p>
      </dgm:t>
    </dgm:pt>
    <dgm:pt modelId="{6C071D51-77B8-4EFD-9FB6-FCEF2ADC1246}">
      <dgm:prSet phldrT="[Text]" custT="1"/>
      <dgm:spPr>
        <a:ln>
          <a:noFill/>
        </a:ln>
      </dgm:spPr>
      <dgm:t>
        <a:bodyPr/>
        <a:lstStyle/>
        <a:p>
          <a:r>
            <a:rPr lang="en-US" sz="1200" b="1" dirty="0"/>
            <a:t>1115 waiver</a:t>
          </a:r>
        </a:p>
      </dgm:t>
    </dgm:pt>
    <dgm:pt modelId="{67CD13A7-670A-494B-802B-0388262AD6E5}" type="parTrans" cxnId="{06AA19BF-279A-4678-8A18-94CF30CBAC6D}">
      <dgm:prSet/>
      <dgm:spPr/>
      <dgm:t>
        <a:bodyPr/>
        <a:lstStyle/>
        <a:p>
          <a:endParaRPr lang="en-US" sz="1200" b="1"/>
        </a:p>
      </dgm:t>
    </dgm:pt>
    <dgm:pt modelId="{8C6DB17C-256F-4FB2-AE9B-B54A9AB67051}" type="sibTrans" cxnId="{06AA19BF-279A-4678-8A18-94CF30CBAC6D}">
      <dgm:prSet/>
      <dgm:spPr/>
      <dgm:t>
        <a:bodyPr/>
        <a:lstStyle/>
        <a:p>
          <a:endParaRPr lang="en-US" sz="1200" b="1"/>
        </a:p>
      </dgm:t>
    </dgm:pt>
    <dgm:pt modelId="{0602ED7E-9C90-492C-B953-EE44638FBB95}">
      <dgm:prSet phldrT="[Text]" custT="1"/>
      <dgm:spPr>
        <a:noFill/>
        <a:ln>
          <a:noFill/>
        </a:ln>
      </dgm:spPr>
      <dgm:t>
        <a:bodyPr/>
        <a:lstStyle/>
        <a:p>
          <a:r>
            <a:rPr lang="en-US" sz="1200" b="1" dirty="0">
              <a:solidFill>
                <a:sysClr val="windowText" lastClr="000000"/>
              </a:solidFill>
            </a:rPr>
            <a:t>Delay</a:t>
          </a:r>
        </a:p>
      </dgm:t>
    </dgm:pt>
    <dgm:pt modelId="{E5F8A749-E885-42C9-B9EE-5E6294529BB1}" type="parTrans" cxnId="{A464C615-08A4-4308-9D31-176CD272EFC4}">
      <dgm:prSet/>
      <dgm:spPr>
        <a:ln>
          <a:noFill/>
        </a:ln>
      </dgm:spPr>
      <dgm:t>
        <a:bodyPr/>
        <a:lstStyle/>
        <a:p>
          <a:endParaRPr lang="en-US" sz="1200" b="1"/>
        </a:p>
      </dgm:t>
    </dgm:pt>
    <dgm:pt modelId="{8CBAE86F-2481-427D-A7BB-5410C2C474AF}" type="sibTrans" cxnId="{A464C615-08A4-4308-9D31-176CD272EFC4}">
      <dgm:prSet/>
      <dgm:spPr/>
      <dgm:t>
        <a:bodyPr/>
        <a:lstStyle/>
        <a:p>
          <a:endParaRPr lang="en-US" sz="1200" b="1"/>
        </a:p>
      </dgm:t>
    </dgm:pt>
    <dgm:pt modelId="{AD6FBD3B-8A7D-4317-BB75-D2A9592FB8BE}">
      <dgm:prSet phldrT="[Text]" custT="1"/>
      <dgm:spPr>
        <a:solidFill>
          <a:srgbClr val="FFC000"/>
        </a:solidFill>
        <a:ln>
          <a:noFill/>
        </a:ln>
      </dgm:spPr>
      <dgm:t>
        <a:bodyPr/>
        <a:lstStyle/>
        <a:p>
          <a:r>
            <a:rPr lang="en-US" sz="1200" b="1" dirty="0">
              <a:solidFill>
                <a:schemeClr val="tx1"/>
              </a:solidFill>
            </a:rPr>
            <a:t>Delay</a:t>
          </a:r>
        </a:p>
      </dgm:t>
    </dgm:pt>
    <dgm:pt modelId="{1DF9E748-BE9E-4485-997D-1484062506CD}" type="parTrans" cxnId="{3F98450E-CE74-402F-B147-B71B24C6FB18}">
      <dgm:prSet/>
      <dgm:spPr>
        <a:ln>
          <a:noFill/>
        </a:ln>
      </dgm:spPr>
      <dgm:t>
        <a:bodyPr/>
        <a:lstStyle/>
        <a:p>
          <a:endParaRPr lang="en-US" sz="1200" b="1"/>
        </a:p>
      </dgm:t>
    </dgm:pt>
    <dgm:pt modelId="{791C9EC4-B42B-4F06-BD72-5A1377A347A4}" type="sibTrans" cxnId="{3F98450E-CE74-402F-B147-B71B24C6FB18}">
      <dgm:prSet/>
      <dgm:spPr/>
      <dgm:t>
        <a:bodyPr/>
        <a:lstStyle/>
        <a:p>
          <a:endParaRPr lang="en-US" sz="1200" b="1"/>
        </a:p>
      </dgm:t>
    </dgm:pt>
    <dgm:pt modelId="{95C081EA-E623-4650-8D9D-F9DDE315F8E5}">
      <dgm:prSet phldrT="[Text]" custT="1"/>
      <dgm:spPr>
        <a:solidFill>
          <a:srgbClr val="00B050"/>
        </a:solidFill>
        <a:ln>
          <a:noFill/>
        </a:ln>
      </dgm:spPr>
      <dgm:t>
        <a:bodyPr/>
        <a:lstStyle/>
        <a:p>
          <a:r>
            <a:rPr lang="en-US" sz="1200" b="1" dirty="0"/>
            <a:t>Expansion effective once waiver approved, if on or after 01/01/2020</a:t>
          </a:r>
        </a:p>
      </dgm:t>
    </dgm:pt>
    <dgm:pt modelId="{0854C3F3-3B12-44C3-A3C2-FF2A3971B0EA}" type="sibTrans" cxnId="{1F135081-99B2-499E-AF49-E1B383697C50}">
      <dgm:prSet/>
      <dgm:spPr/>
      <dgm:t>
        <a:bodyPr/>
        <a:lstStyle/>
        <a:p>
          <a:endParaRPr lang="en-US" sz="1200" b="1"/>
        </a:p>
      </dgm:t>
    </dgm:pt>
    <dgm:pt modelId="{B56C1068-89F2-4261-94F2-98377A59CF83}" type="parTrans" cxnId="{1F135081-99B2-499E-AF49-E1B383697C50}">
      <dgm:prSet/>
      <dgm:spPr>
        <a:ln>
          <a:noFill/>
        </a:ln>
      </dgm:spPr>
      <dgm:t>
        <a:bodyPr/>
        <a:lstStyle/>
        <a:p>
          <a:endParaRPr lang="en-US" sz="1200" b="1"/>
        </a:p>
      </dgm:t>
    </dgm:pt>
    <dgm:pt modelId="{5AF7821A-E4E4-49F2-8CDD-D8E21E18D6E7}" type="pres">
      <dgm:prSet presAssocID="{DD0D810A-461B-43AB-9074-9E97C0408D20}" presName="hierChild1" presStyleCnt="0">
        <dgm:presLayoutVars>
          <dgm:orgChart val="1"/>
          <dgm:chPref val="1"/>
          <dgm:dir/>
          <dgm:animOne val="branch"/>
          <dgm:animLvl val="lvl"/>
          <dgm:resizeHandles/>
        </dgm:presLayoutVars>
      </dgm:prSet>
      <dgm:spPr/>
    </dgm:pt>
    <dgm:pt modelId="{80C2B7DA-1707-47D2-8EFC-5288AE8913B6}" type="pres">
      <dgm:prSet presAssocID="{08EED27D-B691-455A-8D11-8D4400592106}" presName="hierRoot1" presStyleCnt="0">
        <dgm:presLayoutVars>
          <dgm:hierBranch val="init"/>
        </dgm:presLayoutVars>
      </dgm:prSet>
      <dgm:spPr/>
    </dgm:pt>
    <dgm:pt modelId="{6175FF66-8DB8-481C-B9D3-3EA8A4149F44}" type="pres">
      <dgm:prSet presAssocID="{08EED27D-B691-455A-8D11-8D4400592106}" presName="rootComposite1" presStyleCnt="0"/>
      <dgm:spPr/>
    </dgm:pt>
    <dgm:pt modelId="{CA82278E-F451-4EA7-A79E-93E1B57BBB1F}" type="pres">
      <dgm:prSet presAssocID="{08EED27D-B691-455A-8D11-8D4400592106}" presName="rootText1" presStyleLbl="node0" presStyleIdx="0" presStyleCnt="3" custScaleX="30119" custScaleY="49223" custLinFactNeighborX="6064" custLinFactNeighborY="-37340">
        <dgm:presLayoutVars>
          <dgm:chPref val="3"/>
        </dgm:presLayoutVars>
      </dgm:prSet>
      <dgm:spPr>
        <a:prstGeom prst="roundRect">
          <a:avLst/>
        </a:prstGeom>
      </dgm:spPr>
    </dgm:pt>
    <dgm:pt modelId="{34623623-3BE4-45CF-BD25-CAAB9AF090E9}" type="pres">
      <dgm:prSet presAssocID="{08EED27D-B691-455A-8D11-8D4400592106}" presName="rootConnector1" presStyleLbl="node1" presStyleIdx="0" presStyleCnt="0"/>
      <dgm:spPr/>
    </dgm:pt>
    <dgm:pt modelId="{967DC226-F180-4127-893E-63135C92783A}" type="pres">
      <dgm:prSet presAssocID="{08EED27D-B691-455A-8D11-8D4400592106}" presName="hierChild2" presStyleCnt="0"/>
      <dgm:spPr/>
    </dgm:pt>
    <dgm:pt modelId="{138DA514-4305-4324-9DD8-A4E5D22470C0}" type="pres">
      <dgm:prSet presAssocID="{F777E9C7-1812-46A8-9B44-36F638B989E3}" presName="Name64" presStyleLbl="parChTrans1D2" presStyleIdx="0" presStyleCnt="3"/>
      <dgm:spPr/>
    </dgm:pt>
    <dgm:pt modelId="{A529037C-7282-41BC-829D-90E41CBB3114}" type="pres">
      <dgm:prSet presAssocID="{25689892-4E7D-40AA-A673-4C1F0CF0FA5A}" presName="hierRoot2" presStyleCnt="0">
        <dgm:presLayoutVars>
          <dgm:hierBranch val="init"/>
        </dgm:presLayoutVars>
      </dgm:prSet>
      <dgm:spPr/>
    </dgm:pt>
    <dgm:pt modelId="{C8B28FF1-0151-406F-9BD0-E3B77F05369F}" type="pres">
      <dgm:prSet presAssocID="{25689892-4E7D-40AA-A673-4C1F0CF0FA5A}" presName="rootComposite" presStyleCnt="0"/>
      <dgm:spPr/>
    </dgm:pt>
    <dgm:pt modelId="{D4AD3584-CCC7-4C5D-BA2B-08F7C45B2342}" type="pres">
      <dgm:prSet presAssocID="{25689892-4E7D-40AA-A673-4C1F0CF0FA5A}" presName="rootText" presStyleLbl="node2" presStyleIdx="0" presStyleCnt="3" custScaleX="29067" custScaleY="22295" custLinFactNeighborX="-228" custLinFactNeighborY="-36988">
        <dgm:presLayoutVars>
          <dgm:chPref val="3"/>
        </dgm:presLayoutVars>
      </dgm:prSet>
      <dgm:spPr>
        <a:prstGeom prst="ellipse">
          <a:avLst/>
        </a:prstGeom>
      </dgm:spPr>
    </dgm:pt>
    <dgm:pt modelId="{51A2BFE9-2CCD-44C6-9C5D-AA2D7B94BF08}" type="pres">
      <dgm:prSet presAssocID="{25689892-4E7D-40AA-A673-4C1F0CF0FA5A}" presName="rootConnector" presStyleLbl="node2" presStyleIdx="0" presStyleCnt="3"/>
      <dgm:spPr/>
    </dgm:pt>
    <dgm:pt modelId="{ABD2552C-D71B-4C5F-AD9C-234A9D45F0AB}" type="pres">
      <dgm:prSet presAssocID="{25689892-4E7D-40AA-A673-4C1F0CF0FA5A}" presName="hierChild4" presStyleCnt="0"/>
      <dgm:spPr/>
    </dgm:pt>
    <dgm:pt modelId="{1D238B17-4702-4BC2-BE36-EB12789119F6}" type="pres">
      <dgm:prSet presAssocID="{B56C1068-89F2-4261-94F2-98377A59CF83}" presName="Name64" presStyleLbl="parChTrans1D3" presStyleIdx="0" presStyleCnt="3"/>
      <dgm:spPr/>
    </dgm:pt>
    <dgm:pt modelId="{004F2797-0A35-4803-A8F6-A10C3F438A71}" type="pres">
      <dgm:prSet presAssocID="{95C081EA-E623-4650-8D9D-F9DDE315F8E5}" presName="hierRoot2" presStyleCnt="0">
        <dgm:presLayoutVars>
          <dgm:hierBranch val="init"/>
        </dgm:presLayoutVars>
      </dgm:prSet>
      <dgm:spPr/>
    </dgm:pt>
    <dgm:pt modelId="{177DA025-CC0E-40EB-81C5-DD183799493A}" type="pres">
      <dgm:prSet presAssocID="{95C081EA-E623-4650-8D9D-F9DDE315F8E5}" presName="rootComposite" presStyleCnt="0"/>
      <dgm:spPr/>
    </dgm:pt>
    <dgm:pt modelId="{0EE0040A-1396-415B-8C01-1232BE958866}" type="pres">
      <dgm:prSet presAssocID="{95C081EA-E623-4650-8D9D-F9DDE315F8E5}" presName="rootText" presStyleLbl="node3" presStyleIdx="0" presStyleCnt="3" custScaleX="40837" custScaleY="51827" custLinFactNeighborX="-3148" custLinFactNeighborY="-36278">
        <dgm:presLayoutVars>
          <dgm:chPref val="3"/>
        </dgm:presLayoutVars>
      </dgm:prSet>
      <dgm:spPr>
        <a:prstGeom prst="flowChartDisplay">
          <a:avLst/>
        </a:prstGeom>
      </dgm:spPr>
    </dgm:pt>
    <dgm:pt modelId="{86C0B054-993D-4151-9D3E-C2A00B395E81}" type="pres">
      <dgm:prSet presAssocID="{95C081EA-E623-4650-8D9D-F9DDE315F8E5}" presName="rootConnector" presStyleLbl="node3" presStyleIdx="0" presStyleCnt="3"/>
      <dgm:spPr/>
    </dgm:pt>
    <dgm:pt modelId="{EBB6F584-BB2C-455C-8241-A86734C8CD05}" type="pres">
      <dgm:prSet presAssocID="{95C081EA-E623-4650-8D9D-F9DDE315F8E5}" presName="hierChild4" presStyleCnt="0"/>
      <dgm:spPr/>
    </dgm:pt>
    <dgm:pt modelId="{52201E78-AF28-46F4-909E-5B63B07F75CF}" type="pres">
      <dgm:prSet presAssocID="{95C081EA-E623-4650-8D9D-F9DDE315F8E5}" presName="hierChild5" presStyleCnt="0"/>
      <dgm:spPr/>
    </dgm:pt>
    <dgm:pt modelId="{50E30CAA-BFDE-437B-B60D-77B70AB889E5}" type="pres">
      <dgm:prSet presAssocID="{25689892-4E7D-40AA-A673-4C1F0CF0FA5A}" presName="hierChild5" presStyleCnt="0"/>
      <dgm:spPr/>
    </dgm:pt>
    <dgm:pt modelId="{CE207384-9C5C-42F5-AA42-3083E271C6CA}" type="pres">
      <dgm:prSet presAssocID="{08EED27D-B691-455A-8D11-8D4400592106}" presName="hierChild3" presStyleCnt="0"/>
      <dgm:spPr/>
    </dgm:pt>
    <dgm:pt modelId="{8B5217B2-D8A9-4406-95CD-193DFB136C0C}" type="pres">
      <dgm:prSet presAssocID="{374E3B40-BBBE-480A-AFB4-88D490633E79}" presName="hierRoot1" presStyleCnt="0">
        <dgm:presLayoutVars>
          <dgm:hierBranch val="init"/>
        </dgm:presLayoutVars>
      </dgm:prSet>
      <dgm:spPr/>
    </dgm:pt>
    <dgm:pt modelId="{96E018EA-A970-4DA3-830B-5B7BB854B367}" type="pres">
      <dgm:prSet presAssocID="{374E3B40-BBBE-480A-AFB4-88D490633E79}" presName="rootComposite1" presStyleCnt="0"/>
      <dgm:spPr/>
    </dgm:pt>
    <dgm:pt modelId="{9FC8182C-B293-4C29-819C-5B43DEE42D86}" type="pres">
      <dgm:prSet presAssocID="{374E3B40-BBBE-480A-AFB4-88D490633E79}" presName="rootText1" presStyleLbl="node0" presStyleIdx="1" presStyleCnt="3" custScaleX="30119" custScaleY="49223" custLinFactNeighborX="5929" custLinFactNeighborY="1504">
        <dgm:presLayoutVars>
          <dgm:chPref val="3"/>
        </dgm:presLayoutVars>
      </dgm:prSet>
      <dgm:spPr>
        <a:prstGeom prst="roundRect">
          <a:avLst/>
        </a:prstGeom>
      </dgm:spPr>
    </dgm:pt>
    <dgm:pt modelId="{9F0BEDB9-7DCE-4904-9629-127EC139FFBD}" type="pres">
      <dgm:prSet presAssocID="{374E3B40-BBBE-480A-AFB4-88D490633E79}" presName="rootConnector1" presStyleLbl="node1" presStyleIdx="0" presStyleCnt="0"/>
      <dgm:spPr/>
    </dgm:pt>
    <dgm:pt modelId="{A604F5CC-EA0C-465B-AA09-58BA5C447BF1}" type="pres">
      <dgm:prSet presAssocID="{374E3B40-BBBE-480A-AFB4-88D490633E79}" presName="hierChild2" presStyleCnt="0"/>
      <dgm:spPr/>
    </dgm:pt>
    <dgm:pt modelId="{8FC2B97D-DB59-4737-9207-C815A23BF65E}" type="pres">
      <dgm:prSet presAssocID="{6E609385-C993-4BC2-9C17-F960FE135F9E}" presName="Name64" presStyleLbl="parChTrans1D2" presStyleIdx="1" presStyleCnt="3"/>
      <dgm:spPr/>
    </dgm:pt>
    <dgm:pt modelId="{34A0EE78-3DF5-4909-A7B6-15CBCD97511B}" type="pres">
      <dgm:prSet presAssocID="{EF3D876D-3EE3-4D07-AAFA-45A65E67153D}" presName="hierRoot2" presStyleCnt="0">
        <dgm:presLayoutVars>
          <dgm:hierBranch val="init"/>
        </dgm:presLayoutVars>
      </dgm:prSet>
      <dgm:spPr/>
    </dgm:pt>
    <dgm:pt modelId="{29389128-715E-4BB8-9030-711F62B0656F}" type="pres">
      <dgm:prSet presAssocID="{EF3D876D-3EE3-4D07-AAFA-45A65E67153D}" presName="rootComposite" presStyleCnt="0"/>
      <dgm:spPr/>
    </dgm:pt>
    <dgm:pt modelId="{3F481A9A-E90C-4996-961E-95AB6F4713AE}" type="pres">
      <dgm:prSet presAssocID="{EF3D876D-3EE3-4D07-AAFA-45A65E67153D}" presName="rootText" presStyleLbl="node2" presStyleIdx="1" presStyleCnt="3" custScaleX="29067" custScaleY="22295" custLinFactNeighborX="-521" custLinFactNeighborY="830">
        <dgm:presLayoutVars>
          <dgm:chPref val="3"/>
        </dgm:presLayoutVars>
      </dgm:prSet>
      <dgm:spPr>
        <a:prstGeom prst="ellipse">
          <a:avLst/>
        </a:prstGeom>
      </dgm:spPr>
    </dgm:pt>
    <dgm:pt modelId="{F8C2BD55-4131-46B1-9C8F-F2A0FB0317A4}" type="pres">
      <dgm:prSet presAssocID="{EF3D876D-3EE3-4D07-AAFA-45A65E67153D}" presName="rootConnector" presStyleLbl="node2" presStyleIdx="1" presStyleCnt="3"/>
      <dgm:spPr/>
    </dgm:pt>
    <dgm:pt modelId="{89649727-9223-4170-8570-F806B1255349}" type="pres">
      <dgm:prSet presAssocID="{EF3D876D-3EE3-4D07-AAFA-45A65E67153D}" presName="hierChild4" presStyleCnt="0"/>
      <dgm:spPr/>
    </dgm:pt>
    <dgm:pt modelId="{13B287E4-143C-46B8-BB97-EE4AB23BB594}" type="pres">
      <dgm:prSet presAssocID="{A20406A2-2D7C-4A2D-8277-F2D7CFFC3989}" presName="Name64" presStyleLbl="parChTrans1D3" presStyleIdx="1" presStyleCnt="3"/>
      <dgm:spPr/>
    </dgm:pt>
    <dgm:pt modelId="{167D6D34-8479-49A9-90D8-463019E5D7C4}" type="pres">
      <dgm:prSet presAssocID="{5CC210C8-5E6E-48F0-8FD0-6A866839FB6B}" presName="hierRoot2" presStyleCnt="0">
        <dgm:presLayoutVars>
          <dgm:hierBranch val="init"/>
        </dgm:presLayoutVars>
      </dgm:prSet>
      <dgm:spPr/>
    </dgm:pt>
    <dgm:pt modelId="{3D41579B-CEFC-4F48-90A9-71177D2BC668}" type="pres">
      <dgm:prSet presAssocID="{5CC210C8-5E6E-48F0-8FD0-6A866839FB6B}" presName="rootComposite" presStyleCnt="0"/>
      <dgm:spPr/>
    </dgm:pt>
    <dgm:pt modelId="{819DBB63-9FFA-4E43-A6FD-4C64089534ED}" type="pres">
      <dgm:prSet presAssocID="{5CC210C8-5E6E-48F0-8FD0-6A866839FB6B}" presName="rootText" presStyleLbl="node3" presStyleIdx="1" presStyleCnt="3" custScaleX="40837" custScaleY="51827" custLinFactNeighborX="-3148" custLinFactNeighborY="1080">
        <dgm:presLayoutVars>
          <dgm:chPref val="3"/>
        </dgm:presLayoutVars>
      </dgm:prSet>
      <dgm:spPr>
        <a:prstGeom prst="flowChartDisplay">
          <a:avLst/>
        </a:prstGeom>
      </dgm:spPr>
    </dgm:pt>
    <dgm:pt modelId="{61996124-B121-4C46-839E-B33748350A1C}" type="pres">
      <dgm:prSet presAssocID="{5CC210C8-5E6E-48F0-8FD0-6A866839FB6B}" presName="rootConnector" presStyleLbl="node3" presStyleIdx="1" presStyleCnt="3"/>
      <dgm:spPr/>
    </dgm:pt>
    <dgm:pt modelId="{54A2FDD9-E01D-4F18-A735-3C0A31DB24C6}" type="pres">
      <dgm:prSet presAssocID="{5CC210C8-5E6E-48F0-8FD0-6A866839FB6B}" presName="hierChild4" presStyleCnt="0"/>
      <dgm:spPr/>
    </dgm:pt>
    <dgm:pt modelId="{A51272A7-807E-45A4-8542-482B290D118F}" type="pres">
      <dgm:prSet presAssocID="{5CC210C8-5E6E-48F0-8FD0-6A866839FB6B}" presName="hierChild5" presStyleCnt="0"/>
      <dgm:spPr/>
    </dgm:pt>
    <dgm:pt modelId="{012871F6-A4FF-4931-B07F-977EBC7CF012}" type="pres">
      <dgm:prSet presAssocID="{EF3D876D-3EE3-4D07-AAFA-45A65E67153D}" presName="hierChild5" presStyleCnt="0"/>
      <dgm:spPr/>
    </dgm:pt>
    <dgm:pt modelId="{FE254E6B-1A30-45E9-9FD1-F9E71E9C56CB}" type="pres">
      <dgm:prSet presAssocID="{374E3B40-BBBE-480A-AFB4-88D490633E79}" presName="hierChild3" presStyleCnt="0"/>
      <dgm:spPr/>
    </dgm:pt>
    <dgm:pt modelId="{548E39BF-3D16-4FA0-806F-A12583432E44}" type="pres">
      <dgm:prSet presAssocID="{6C071D51-77B8-4EFD-9FB6-FCEF2ADC1246}" presName="hierRoot1" presStyleCnt="0">
        <dgm:presLayoutVars>
          <dgm:hierBranch val="init"/>
        </dgm:presLayoutVars>
      </dgm:prSet>
      <dgm:spPr/>
    </dgm:pt>
    <dgm:pt modelId="{CE63C615-46B4-4681-A9AF-FAB968BA1A11}" type="pres">
      <dgm:prSet presAssocID="{6C071D51-77B8-4EFD-9FB6-FCEF2ADC1246}" presName="rootComposite1" presStyleCnt="0"/>
      <dgm:spPr/>
    </dgm:pt>
    <dgm:pt modelId="{34B92687-26AF-45EB-AA9C-D562FD3F5B8B}" type="pres">
      <dgm:prSet presAssocID="{6C071D51-77B8-4EFD-9FB6-FCEF2ADC1246}" presName="rootText1" presStyleLbl="node0" presStyleIdx="2" presStyleCnt="3" custScaleX="30119" custScaleY="49223" custLinFactNeighborX="5929" custLinFactNeighborY="45293">
        <dgm:presLayoutVars>
          <dgm:chPref val="3"/>
        </dgm:presLayoutVars>
      </dgm:prSet>
      <dgm:spPr>
        <a:prstGeom prst="roundRect">
          <a:avLst/>
        </a:prstGeom>
      </dgm:spPr>
    </dgm:pt>
    <dgm:pt modelId="{10904998-4AC3-4226-96FF-4468A42FBDAE}" type="pres">
      <dgm:prSet presAssocID="{6C071D51-77B8-4EFD-9FB6-FCEF2ADC1246}" presName="rootConnector1" presStyleLbl="node1" presStyleIdx="0" presStyleCnt="0"/>
      <dgm:spPr/>
    </dgm:pt>
    <dgm:pt modelId="{314849F8-32DF-4E05-86A2-78390C9812CA}" type="pres">
      <dgm:prSet presAssocID="{6C071D51-77B8-4EFD-9FB6-FCEF2ADC1246}" presName="hierChild2" presStyleCnt="0"/>
      <dgm:spPr/>
    </dgm:pt>
    <dgm:pt modelId="{F580550D-7334-4B9E-95B2-51BB673FC8D1}" type="pres">
      <dgm:prSet presAssocID="{E5F8A749-E885-42C9-B9EE-5E6294529BB1}" presName="Name64" presStyleLbl="parChTrans1D2" presStyleIdx="2" presStyleCnt="3"/>
      <dgm:spPr/>
    </dgm:pt>
    <dgm:pt modelId="{5D024D76-02E8-4BC8-B6A7-1ED65FC22934}" type="pres">
      <dgm:prSet presAssocID="{0602ED7E-9C90-492C-B953-EE44638FBB95}" presName="hierRoot2" presStyleCnt="0">
        <dgm:presLayoutVars>
          <dgm:hierBranch val="init"/>
        </dgm:presLayoutVars>
      </dgm:prSet>
      <dgm:spPr/>
    </dgm:pt>
    <dgm:pt modelId="{58B89B0E-A179-4F98-A109-D527ACCA21EB}" type="pres">
      <dgm:prSet presAssocID="{0602ED7E-9C90-492C-B953-EE44638FBB95}" presName="rootComposite" presStyleCnt="0"/>
      <dgm:spPr/>
    </dgm:pt>
    <dgm:pt modelId="{4DA49A07-9EA0-48E0-9D38-EEBB3D0A0EA8}" type="pres">
      <dgm:prSet presAssocID="{0602ED7E-9C90-492C-B953-EE44638FBB95}" presName="rootText" presStyleLbl="node2" presStyleIdx="2" presStyleCnt="3" custScaleX="29067" custScaleY="22295" custLinFactNeighborX="-1122" custLinFactNeighborY="45646">
        <dgm:presLayoutVars>
          <dgm:chPref val="3"/>
        </dgm:presLayoutVars>
      </dgm:prSet>
      <dgm:spPr>
        <a:prstGeom prst="ellipse">
          <a:avLst/>
        </a:prstGeom>
      </dgm:spPr>
    </dgm:pt>
    <dgm:pt modelId="{791FDAA3-E3B9-44A0-A506-C5A7896959A9}" type="pres">
      <dgm:prSet presAssocID="{0602ED7E-9C90-492C-B953-EE44638FBB95}" presName="rootConnector" presStyleLbl="node2" presStyleIdx="2" presStyleCnt="3"/>
      <dgm:spPr/>
    </dgm:pt>
    <dgm:pt modelId="{F4BAA4A6-4A8D-4FE3-BE4B-970580080373}" type="pres">
      <dgm:prSet presAssocID="{0602ED7E-9C90-492C-B953-EE44638FBB95}" presName="hierChild4" presStyleCnt="0"/>
      <dgm:spPr/>
    </dgm:pt>
    <dgm:pt modelId="{88CBFC17-B32F-40BB-A01F-845BE2F3B3D2}" type="pres">
      <dgm:prSet presAssocID="{1DF9E748-BE9E-4485-997D-1484062506CD}" presName="Name64" presStyleLbl="parChTrans1D3" presStyleIdx="2" presStyleCnt="3"/>
      <dgm:spPr/>
    </dgm:pt>
    <dgm:pt modelId="{497FC27D-FBFD-40FD-B143-73D58863783C}" type="pres">
      <dgm:prSet presAssocID="{AD6FBD3B-8A7D-4317-BB75-D2A9592FB8BE}" presName="hierRoot2" presStyleCnt="0">
        <dgm:presLayoutVars>
          <dgm:hierBranch val="init"/>
        </dgm:presLayoutVars>
      </dgm:prSet>
      <dgm:spPr/>
    </dgm:pt>
    <dgm:pt modelId="{7A78D83F-1F19-49EA-A692-D8C7154E0D2A}" type="pres">
      <dgm:prSet presAssocID="{AD6FBD3B-8A7D-4317-BB75-D2A9592FB8BE}" presName="rootComposite" presStyleCnt="0"/>
      <dgm:spPr/>
    </dgm:pt>
    <dgm:pt modelId="{185F49BA-0FB4-494E-888E-7DA48969E1D5}" type="pres">
      <dgm:prSet presAssocID="{AD6FBD3B-8A7D-4317-BB75-D2A9592FB8BE}" presName="rootText" presStyleLbl="node3" presStyleIdx="2" presStyleCnt="3" custScaleX="40837" custScaleY="51827" custLinFactNeighborX="-3148" custLinFactNeighborY="45984">
        <dgm:presLayoutVars>
          <dgm:chPref val="3"/>
        </dgm:presLayoutVars>
      </dgm:prSet>
      <dgm:spPr>
        <a:prstGeom prst="flowChartDisplay">
          <a:avLst/>
        </a:prstGeom>
      </dgm:spPr>
    </dgm:pt>
    <dgm:pt modelId="{B807D448-C164-41F3-952C-4662C5DAB639}" type="pres">
      <dgm:prSet presAssocID="{AD6FBD3B-8A7D-4317-BB75-D2A9592FB8BE}" presName="rootConnector" presStyleLbl="node3" presStyleIdx="2" presStyleCnt="3"/>
      <dgm:spPr/>
    </dgm:pt>
    <dgm:pt modelId="{41C29178-ECF4-45D7-97EE-1D8ED8D70730}" type="pres">
      <dgm:prSet presAssocID="{AD6FBD3B-8A7D-4317-BB75-D2A9592FB8BE}" presName="hierChild4" presStyleCnt="0"/>
      <dgm:spPr/>
    </dgm:pt>
    <dgm:pt modelId="{C84A8BD9-3428-4B7A-98EA-1C0776D2CFCB}" type="pres">
      <dgm:prSet presAssocID="{AD6FBD3B-8A7D-4317-BB75-D2A9592FB8BE}" presName="hierChild5" presStyleCnt="0"/>
      <dgm:spPr/>
    </dgm:pt>
    <dgm:pt modelId="{3EF75164-2C5D-4F1B-95FD-4DE87B539CD2}" type="pres">
      <dgm:prSet presAssocID="{0602ED7E-9C90-492C-B953-EE44638FBB95}" presName="hierChild5" presStyleCnt="0"/>
      <dgm:spPr/>
    </dgm:pt>
    <dgm:pt modelId="{D01537A8-DB3F-48BC-9816-2C81E1C2DE94}" type="pres">
      <dgm:prSet presAssocID="{6C071D51-77B8-4EFD-9FB6-FCEF2ADC1246}" presName="hierChild3" presStyleCnt="0"/>
      <dgm:spPr/>
    </dgm:pt>
  </dgm:ptLst>
  <dgm:cxnLst>
    <dgm:cxn modelId="{3F98450E-CE74-402F-B147-B71B24C6FB18}" srcId="{0602ED7E-9C90-492C-B953-EE44638FBB95}" destId="{AD6FBD3B-8A7D-4317-BB75-D2A9592FB8BE}" srcOrd="0" destOrd="0" parTransId="{1DF9E748-BE9E-4485-997D-1484062506CD}" sibTransId="{791C9EC4-B42B-4F06-BD72-5A1377A347A4}"/>
    <dgm:cxn modelId="{A464C615-08A4-4308-9D31-176CD272EFC4}" srcId="{6C071D51-77B8-4EFD-9FB6-FCEF2ADC1246}" destId="{0602ED7E-9C90-492C-B953-EE44638FBB95}" srcOrd="0" destOrd="0" parTransId="{E5F8A749-E885-42C9-B9EE-5E6294529BB1}" sibTransId="{8CBAE86F-2481-427D-A7BB-5410C2C474AF}"/>
    <dgm:cxn modelId="{D35A7518-0072-4221-9867-FBFE00A0D2B6}" srcId="{DD0D810A-461B-43AB-9074-9E97C0408D20}" destId="{374E3B40-BBBE-480A-AFB4-88D490633E79}" srcOrd="1" destOrd="0" parTransId="{7CD24F9D-E1BB-408F-AAA9-2DE54AABDB4B}" sibTransId="{3C2134FB-03F5-408F-A3E8-366E7D03A159}"/>
    <dgm:cxn modelId="{3FFA4C20-05CF-4496-9B11-5CE62E46C122}" type="presOf" srcId="{6E609385-C993-4BC2-9C17-F960FE135F9E}" destId="{8FC2B97D-DB59-4737-9207-C815A23BF65E}" srcOrd="0" destOrd="0" presId="urn:microsoft.com/office/officeart/2009/3/layout/HorizontalOrganizationChart"/>
    <dgm:cxn modelId="{A67D6E2A-B143-4447-AB7C-46EB2216FB75}" type="presOf" srcId="{F777E9C7-1812-46A8-9B44-36F638B989E3}" destId="{138DA514-4305-4324-9DD8-A4E5D22470C0}" srcOrd="0" destOrd="0" presId="urn:microsoft.com/office/officeart/2009/3/layout/HorizontalOrganizationChart"/>
    <dgm:cxn modelId="{A5E6552D-4F8C-4DBC-880D-BEF2390C24D9}" type="presOf" srcId="{08EED27D-B691-455A-8D11-8D4400592106}" destId="{34623623-3BE4-45CF-BD25-CAAB9AF090E9}" srcOrd="1" destOrd="0" presId="urn:microsoft.com/office/officeart/2009/3/layout/HorizontalOrganizationChart"/>
    <dgm:cxn modelId="{2FE3DE37-7AB0-4AED-9DE9-E0DD02F9B68D}" type="presOf" srcId="{E5F8A749-E885-42C9-B9EE-5E6294529BB1}" destId="{F580550D-7334-4B9E-95B2-51BB673FC8D1}" srcOrd="0" destOrd="0" presId="urn:microsoft.com/office/officeart/2009/3/layout/HorizontalOrganizationChart"/>
    <dgm:cxn modelId="{6183793A-9EEE-414A-8150-7CC9333B8A8B}" type="presOf" srcId="{DD0D810A-461B-43AB-9074-9E97C0408D20}" destId="{5AF7821A-E4E4-49F2-8CDD-D8E21E18D6E7}" srcOrd="0" destOrd="0" presId="urn:microsoft.com/office/officeart/2009/3/layout/HorizontalOrganizationChart"/>
    <dgm:cxn modelId="{90B3D63B-6A17-4071-9840-F4FDD8DEA7E3}" type="presOf" srcId="{EF3D876D-3EE3-4D07-AAFA-45A65E67153D}" destId="{F8C2BD55-4131-46B1-9C8F-F2A0FB0317A4}" srcOrd="1" destOrd="0" presId="urn:microsoft.com/office/officeart/2009/3/layout/HorizontalOrganizationChart"/>
    <dgm:cxn modelId="{CFBF0442-8025-4FC7-9CB5-F293CBD375E6}" type="presOf" srcId="{374E3B40-BBBE-480A-AFB4-88D490633E79}" destId="{9F0BEDB9-7DCE-4904-9629-127EC139FFBD}" srcOrd="1" destOrd="0" presId="urn:microsoft.com/office/officeart/2009/3/layout/HorizontalOrganizationChart"/>
    <dgm:cxn modelId="{1B902463-F01F-43F8-958A-055BDAB2848F}" type="presOf" srcId="{95C081EA-E623-4650-8D9D-F9DDE315F8E5}" destId="{86C0B054-993D-4151-9D3E-C2A00B395E81}" srcOrd="1" destOrd="0" presId="urn:microsoft.com/office/officeart/2009/3/layout/HorizontalOrganizationChart"/>
    <dgm:cxn modelId="{80498264-13AB-41BD-9988-11175B496E49}" type="presOf" srcId="{25689892-4E7D-40AA-A673-4C1F0CF0FA5A}" destId="{D4AD3584-CCC7-4C5D-BA2B-08F7C45B2342}" srcOrd="0" destOrd="0" presId="urn:microsoft.com/office/officeart/2009/3/layout/HorizontalOrganizationChart"/>
    <dgm:cxn modelId="{18D95E45-FDD8-44A0-AD93-B7A625254BB6}" type="presOf" srcId="{0602ED7E-9C90-492C-B953-EE44638FBB95}" destId="{791FDAA3-E3B9-44A0-A506-C5A7896959A9}" srcOrd="1" destOrd="0" presId="urn:microsoft.com/office/officeart/2009/3/layout/HorizontalOrganizationChart"/>
    <dgm:cxn modelId="{52D82966-174E-4B1C-A11F-F19CA5122312}" type="presOf" srcId="{0602ED7E-9C90-492C-B953-EE44638FBB95}" destId="{4DA49A07-9EA0-48E0-9D38-EEBB3D0A0EA8}" srcOrd="0" destOrd="0" presId="urn:microsoft.com/office/officeart/2009/3/layout/HorizontalOrganizationChart"/>
    <dgm:cxn modelId="{37262148-BB0F-4AAE-93EB-D71C43F7ABA1}" srcId="{374E3B40-BBBE-480A-AFB4-88D490633E79}" destId="{EF3D876D-3EE3-4D07-AAFA-45A65E67153D}" srcOrd="0" destOrd="0" parTransId="{6E609385-C993-4BC2-9C17-F960FE135F9E}" sibTransId="{4FECF614-695B-4D39-A080-4F84C9ACE92B}"/>
    <dgm:cxn modelId="{E236B369-E861-4F02-A503-6D187F6EBD52}" type="presOf" srcId="{6C071D51-77B8-4EFD-9FB6-FCEF2ADC1246}" destId="{10904998-4AC3-4226-96FF-4468A42FBDAE}" srcOrd="1" destOrd="0" presId="urn:microsoft.com/office/officeart/2009/3/layout/HorizontalOrganizationChart"/>
    <dgm:cxn modelId="{07CA6C4D-2953-4A72-8431-3073538BAC4F}" type="presOf" srcId="{5CC210C8-5E6E-48F0-8FD0-6A866839FB6B}" destId="{61996124-B121-4C46-839E-B33748350A1C}" srcOrd="1" destOrd="0" presId="urn:microsoft.com/office/officeart/2009/3/layout/HorizontalOrganizationChart"/>
    <dgm:cxn modelId="{E95F3175-26B4-46DA-8030-560E55D081E5}" type="presOf" srcId="{95C081EA-E623-4650-8D9D-F9DDE315F8E5}" destId="{0EE0040A-1396-415B-8C01-1232BE958866}" srcOrd="0" destOrd="0" presId="urn:microsoft.com/office/officeart/2009/3/layout/HorizontalOrganizationChart"/>
    <dgm:cxn modelId="{1F135081-99B2-499E-AF49-E1B383697C50}" srcId="{25689892-4E7D-40AA-A673-4C1F0CF0FA5A}" destId="{95C081EA-E623-4650-8D9D-F9DDE315F8E5}" srcOrd="0" destOrd="0" parTransId="{B56C1068-89F2-4261-94F2-98377A59CF83}" sibTransId="{0854C3F3-3B12-44C3-A3C2-FF2A3971B0EA}"/>
    <dgm:cxn modelId="{F82FE785-4758-47CA-8140-93986E4CDFA5}" type="presOf" srcId="{AD6FBD3B-8A7D-4317-BB75-D2A9592FB8BE}" destId="{B807D448-C164-41F3-952C-4662C5DAB639}" srcOrd="1" destOrd="0" presId="urn:microsoft.com/office/officeart/2009/3/layout/HorizontalOrganizationChart"/>
    <dgm:cxn modelId="{8159C48F-A7AC-4BB8-86FD-E98E30C693B0}" type="presOf" srcId="{AD6FBD3B-8A7D-4317-BB75-D2A9592FB8BE}" destId="{185F49BA-0FB4-494E-888E-7DA48969E1D5}" srcOrd="0" destOrd="0" presId="urn:microsoft.com/office/officeart/2009/3/layout/HorizontalOrganizationChart"/>
    <dgm:cxn modelId="{DF19D09E-5F2A-42FF-B987-394FE18F7F02}" type="presOf" srcId="{08EED27D-B691-455A-8D11-8D4400592106}" destId="{CA82278E-F451-4EA7-A79E-93E1B57BBB1F}" srcOrd="0" destOrd="0" presId="urn:microsoft.com/office/officeart/2009/3/layout/HorizontalOrganizationChart"/>
    <dgm:cxn modelId="{757874A7-8288-4CDE-AD8A-3C54D0A5F068}" type="presOf" srcId="{EF3D876D-3EE3-4D07-AAFA-45A65E67153D}" destId="{3F481A9A-E90C-4996-961E-95AB6F4713AE}" srcOrd="0" destOrd="0" presId="urn:microsoft.com/office/officeart/2009/3/layout/HorizontalOrganizationChart"/>
    <dgm:cxn modelId="{A3225DBE-FBF4-4CA6-9910-43E74A7EDDCD}" srcId="{DD0D810A-461B-43AB-9074-9E97C0408D20}" destId="{08EED27D-B691-455A-8D11-8D4400592106}" srcOrd="0" destOrd="0" parTransId="{1BD718C0-8E31-4C02-8936-3DC9E7EB711A}" sibTransId="{7B5F34EC-77F8-4B43-BB2C-33BBF5B01984}"/>
    <dgm:cxn modelId="{06AA19BF-279A-4678-8A18-94CF30CBAC6D}" srcId="{DD0D810A-461B-43AB-9074-9E97C0408D20}" destId="{6C071D51-77B8-4EFD-9FB6-FCEF2ADC1246}" srcOrd="2" destOrd="0" parTransId="{67CD13A7-670A-494B-802B-0388262AD6E5}" sibTransId="{8C6DB17C-256F-4FB2-AE9B-B54A9AB67051}"/>
    <dgm:cxn modelId="{FFFCDCCA-3D61-4DF2-B208-89FAD8183DD7}" type="presOf" srcId="{6C071D51-77B8-4EFD-9FB6-FCEF2ADC1246}" destId="{34B92687-26AF-45EB-AA9C-D562FD3F5B8B}" srcOrd="0" destOrd="0" presId="urn:microsoft.com/office/officeart/2009/3/layout/HorizontalOrganizationChart"/>
    <dgm:cxn modelId="{7BD8D9CD-A10D-4E23-A8F1-24DEA852CAEA}" type="presOf" srcId="{5CC210C8-5E6E-48F0-8FD0-6A866839FB6B}" destId="{819DBB63-9FFA-4E43-A6FD-4C64089534ED}" srcOrd="0" destOrd="0" presId="urn:microsoft.com/office/officeart/2009/3/layout/HorizontalOrganizationChart"/>
    <dgm:cxn modelId="{367A84D4-37A7-4739-AA77-24AE949AE300}" type="presOf" srcId="{25689892-4E7D-40AA-A673-4C1F0CF0FA5A}" destId="{51A2BFE9-2CCD-44C6-9C5D-AA2D7B94BF08}" srcOrd="1" destOrd="0" presId="urn:microsoft.com/office/officeart/2009/3/layout/HorizontalOrganizationChart"/>
    <dgm:cxn modelId="{F0341BD8-469F-4A6C-83F6-86DEA6671799}" srcId="{08EED27D-B691-455A-8D11-8D4400592106}" destId="{25689892-4E7D-40AA-A673-4C1F0CF0FA5A}" srcOrd="0" destOrd="0" parTransId="{F777E9C7-1812-46A8-9B44-36F638B989E3}" sibTransId="{32D3F911-C848-4633-AE9B-C684A3E2D4A0}"/>
    <dgm:cxn modelId="{E7D6A7DC-B0D0-477A-9DCE-7F7DEF52C16E}" type="presOf" srcId="{374E3B40-BBBE-480A-AFB4-88D490633E79}" destId="{9FC8182C-B293-4C29-819C-5B43DEE42D86}" srcOrd="0" destOrd="0" presId="urn:microsoft.com/office/officeart/2009/3/layout/HorizontalOrganizationChart"/>
    <dgm:cxn modelId="{AFBDF8E3-CE56-4527-BB94-0AE6DA9E2667}" type="presOf" srcId="{1DF9E748-BE9E-4485-997D-1484062506CD}" destId="{88CBFC17-B32F-40BB-A01F-845BE2F3B3D2}" srcOrd="0" destOrd="0" presId="urn:microsoft.com/office/officeart/2009/3/layout/HorizontalOrganizationChart"/>
    <dgm:cxn modelId="{277B7AEE-A848-494F-8040-FC664A9CA7F9}" type="presOf" srcId="{A20406A2-2D7C-4A2D-8277-F2D7CFFC3989}" destId="{13B287E4-143C-46B8-BB97-EE4AB23BB594}" srcOrd="0" destOrd="0" presId="urn:microsoft.com/office/officeart/2009/3/layout/HorizontalOrganizationChart"/>
    <dgm:cxn modelId="{7B63FDF8-D2FD-4F74-B3A8-B937E0C56E3C}" type="presOf" srcId="{B56C1068-89F2-4261-94F2-98377A59CF83}" destId="{1D238B17-4702-4BC2-BE36-EB12789119F6}" srcOrd="0" destOrd="0" presId="urn:microsoft.com/office/officeart/2009/3/layout/HorizontalOrganizationChart"/>
    <dgm:cxn modelId="{6D197EFA-E970-4CA7-BFDB-12014368DE9A}" srcId="{EF3D876D-3EE3-4D07-AAFA-45A65E67153D}" destId="{5CC210C8-5E6E-48F0-8FD0-6A866839FB6B}" srcOrd="0" destOrd="0" parTransId="{A20406A2-2D7C-4A2D-8277-F2D7CFFC3989}" sibTransId="{C531265A-64F9-4D92-A7AB-716575731EBF}"/>
    <dgm:cxn modelId="{408D9A55-D4FD-48BD-B747-A909B88F6FB1}" type="presParOf" srcId="{5AF7821A-E4E4-49F2-8CDD-D8E21E18D6E7}" destId="{80C2B7DA-1707-47D2-8EFC-5288AE8913B6}" srcOrd="0" destOrd="0" presId="urn:microsoft.com/office/officeart/2009/3/layout/HorizontalOrganizationChart"/>
    <dgm:cxn modelId="{1411950A-37DB-43DC-8420-78B5FA994A35}" type="presParOf" srcId="{80C2B7DA-1707-47D2-8EFC-5288AE8913B6}" destId="{6175FF66-8DB8-481C-B9D3-3EA8A4149F44}" srcOrd="0" destOrd="0" presId="urn:microsoft.com/office/officeart/2009/3/layout/HorizontalOrganizationChart"/>
    <dgm:cxn modelId="{F4E387AC-4BEA-4904-8907-355E3F54AEAC}" type="presParOf" srcId="{6175FF66-8DB8-481C-B9D3-3EA8A4149F44}" destId="{CA82278E-F451-4EA7-A79E-93E1B57BBB1F}" srcOrd="0" destOrd="0" presId="urn:microsoft.com/office/officeart/2009/3/layout/HorizontalOrganizationChart"/>
    <dgm:cxn modelId="{6461D3D8-9595-46BB-BDB2-A4DB72B09946}" type="presParOf" srcId="{6175FF66-8DB8-481C-B9D3-3EA8A4149F44}" destId="{34623623-3BE4-45CF-BD25-CAAB9AF090E9}" srcOrd="1" destOrd="0" presId="urn:microsoft.com/office/officeart/2009/3/layout/HorizontalOrganizationChart"/>
    <dgm:cxn modelId="{BB7890DE-7C24-4054-A28E-58811E84FD58}" type="presParOf" srcId="{80C2B7DA-1707-47D2-8EFC-5288AE8913B6}" destId="{967DC226-F180-4127-893E-63135C92783A}" srcOrd="1" destOrd="0" presId="urn:microsoft.com/office/officeart/2009/3/layout/HorizontalOrganizationChart"/>
    <dgm:cxn modelId="{DA125E66-9657-4E4A-9362-F15597EDF3F1}" type="presParOf" srcId="{967DC226-F180-4127-893E-63135C92783A}" destId="{138DA514-4305-4324-9DD8-A4E5D22470C0}" srcOrd="0" destOrd="0" presId="urn:microsoft.com/office/officeart/2009/3/layout/HorizontalOrganizationChart"/>
    <dgm:cxn modelId="{2AC073F5-A2B2-4194-A6B2-E7E01B08FD05}" type="presParOf" srcId="{967DC226-F180-4127-893E-63135C92783A}" destId="{A529037C-7282-41BC-829D-90E41CBB3114}" srcOrd="1" destOrd="0" presId="urn:microsoft.com/office/officeart/2009/3/layout/HorizontalOrganizationChart"/>
    <dgm:cxn modelId="{9952826E-6408-4D21-9A81-C7F7CFF26430}" type="presParOf" srcId="{A529037C-7282-41BC-829D-90E41CBB3114}" destId="{C8B28FF1-0151-406F-9BD0-E3B77F05369F}" srcOrd="0" destOrd="0" presId="urn:microsoft.com/office/officeart/2009/3/layout/HorizontalOrganizationChart"/>
    <dgm:cxn modelId="{D65B5C66-8F6D-4543-A9B6-60A897C1C6AC}" type="presParOf" srcId="{C8B28FF1-0151-406F-9BD0-E3B77F05369F}" destId="{D4AD3584-CCC7-4C5D-BA2B-08F7C45B2342}" srcOrd="0" destOrd="0" presId="urn:microsoft.com/office/officeart/2009/3/layout/HorizontalOrganizationChart"/>
    <dgm:cxn modelId="{C247E3C4-DFB9-4BAE-A8BB-74F5EF18C913}" type="presParOf" srcId="{C8B28FF1-0151-406F-9BD0-E3B77F05369F}" destId="{51A2BFE9-2CCD-44C6-9C5D-AA2D7B94BF08}" srcOrd="1" destOrd="0" presId="urn:microsoft.com/office/officeart/2009/3/layout/HorizontalOrganizationChart"/>
    <dgm:cxn modelId="{C0AF48A4-3FF2-4DD8-89FB-6816E288A9BE}" type="presParOf" srcId="{A529037C-7282-41BC-829D-90E41CBB3114}" destId="{ABD2552C-D71B-4C5F-AD9C-234A9D45F0AB}" srcOrd="1" destOrd="0" presId="urn:microsoft.com/office/officeart/2009/3/layout/HorizontalOrganizationChart"/>
    <dgm:cxn modelId="{E431C7FC-37E1-45B1-8042-39E9BF8538E7}" type="presParOf" srcId="{ABD2552C-D71B-4C5F-AD9C-234A9D45F0AB}" destId="{1D238B17-4702-4BC2-BE36-EB12789119F6}" srcOrd="0" destOrd="0" presId="urn:microsoft.com/office/officeart/2009/3/layout/HorizontalOrganizationChart"/>
    <dgm:cxn modelId="{108BF123-966E-4FC2-9285-D7F7AB6B03B7}" type="presParOf" srcId="{ABD2552C-D71B-4C5F-AD9C-234A9D45F0AB}" destId="{004F2797-0A35-4803-A8F6-A10C3F438A71}" srcOrd="1" destOrd="0" presId="urn:microsoft.com/office/officeart/2009/3/layout/HorizontalOrganizationChart"/>
    <dgm:cxn modelId="{CE9F1367-4125-48FD-83B9-328FD33DA83A}" type="presParOf" srcId="{004F2797-0A35-4803-A8F6-A10C3F438A71}" destId="{177DA025-CC0E-40EB-81C5-DD183799493A}" srcOrd="0" destOrd="0" presId="urn:microsoft.com/office/officeart/2009/3/layout/HorizontalOrganizationChart"/>
    <dgm:cxn modelId="{354AB945-B220-45E3-ADDC-E54718C3E381}" type="presParOf" srcId="{177DA025-CC0E-40EB-81C5-DD183799493A}" destId="{0EE0040A-1396-415B-8C01-1232BE958866}" srcOrd="0" destOrd="0" presId="urn:microsoft.com/office/officeart/2009/3/layout/HorizontalOrganizationChart"/>
    <dgm:cxn modelId="{FD465E7D-ADA0-4E48-B5D0-BAC50ADB04F0}" type="presParOf" srcId="{177DA025-CC0E-40EB-81C5-DD183799493A}" destId="{86C0B054-993D-4151-9D3E-C2A00B395E81}" srcOrd="1" destOrd="0" presId="urn:microsoft.com/office/officeart/2009/3/layout/HorizontalOrganizationChart"/>
    <dgm:cxn modelId="{CDFAACD5-8012-45ED-AA97-2867F204F54E}" type="presParOf" srcId="{004F2797-0A35-4803-A8F6-A10C3F438A71}" destId="{EBB6F584-BB2C-455C-8241-A86734C8CD05}" srcOrd="1" destOrd="0" presId="urn:microsoft.com/office/officeart/2009/3/layout/HorizontalOrganizationChart"/>
    <dgm:cxn modelId="{FA3F6C78-04E9-4228-9DC2-FA00FE14A143}" type="presParOf" srcId="{004F2797-0A35-4803-A8F6-A10C3F438A71}" destId="{52201E78-AF28-46F4-909E-5B63B07F75CF}" srcOrd="2" destOrd="0" presId="urn:microsoft.com/office/officeart/2009/3/layout/HorizontalOrganizationChart"/>
    <dgm:cxn modelId="{5EF5ECD8-96C1-42E6-BE75-558C01E6B39F}" type="presParOf" srcId="{A529037C-7282-41BC-829D-90E41CBB3114}" destId="{50E30CAA-BFDE-437B-B60D-77B70AB889E5}" srcOrd="2" destOrd="0" presId="urn:microsoft.com/office/officeart/2009/3/layout/HorizontalOrganizationChart"/>
    <dgm:cxn modelId="{31DD62D4-D4B8-4085-B4E6-3161BC1E05E3}" type="presParOf" srcId="{80C2B7DA-1707-47D2-8EFC-5288AE8913B6}" destId="{CE207384-9C5C-42F5-AA42-3083E271C6CA}" srcOrd="2" destOrd="0" presId="urn:microsoft.com/office/officeart/2009/3/layout/HorizontalOrganizationChart"/>
    <dgm:cxn modelId="{77219D3E-1360-41C1-B862-B602C96652C3}" type="presParOf" srcId="{5AF7821A-E4E4-49F2-8CDD-D8E21E18D6E7}" destId="{8B5217B2-D8A9-4406-95CD-193DFB136C0C}" srcOrd="1" destOrd="0" presId="urn:microsoft.com/office/officeart/2009/3/layout/HorizontalOrganizationChart"/>
    <dgm:cxn modelId="{E33B5C2E-9A7F-421F-B00F-0F6AA9A2A625}" type="presParOf" srcId="{8B5217B2-D8A9-4406-95CD-193DFB136C0C}" destId="{96E018EA-A970-4DA3-830B-5B7BB854B367}" srcOrd="0" destOrd="0" presId="urn:microsoft.com/office/officeart/2009/3/layout/HorizontalOrganizationChart"/>
    <dgm:cxn modelId="{A3A8B926-A962-45BD-9444-FC613D03325C}" type="presParOf" srcId="{96E018EA-A970-4DA3-830B-5B7BB854B367}" destId="{9FC8182C-B293-4C29-819C-5B43DEE42D86}" srcOrd="0" destOrd="0" presId="urn:microsoft.com/office/officeart/2009/3/layout/HorizontalOrganizationChart"/>
    <dgm:cxn modelId="{72A841FC-003C-4D8B-8451-5C11E170AB6B}" type="presParOf" srcId="{96E018EA-A970-4DA3-830B-5B7BB854B367}" destId="{9F0BEDB9-7DCE-4904-9629-127EC139FFBD}" srcOrd="1" destOrd="0" presId="urn:microsoft.com/office/officeart/2009/3/layout/HorizontalOrganizationChart"/>
    <dgm:cxn modelId="{1DA5F351-7313-4770-A815-13E624264ED1}" type="presParOf" srcId="{8B5217B2-D8A9-4406-95CD-193DFB136C0C}" destId="{A604F5CC-EA0C-465B-AA09-58BA5C447BF1}" srcOrd="1" destOrd="0" presId="urn:microsoft.com/office/officeart/2009/3/layout/HorizontalOrganizationChart"/>
    <dgm:cxn modelId="{21B8E4D4-7159-4D9F-815E-5C4130816C58}" type="presParOf" srcId="{A604F5CC-EA0C-465B-AA09-58BA5C447BF1}" destId="{8FC2B97D-DB59-4737-9207-C815A23BF65E}" srcOrd="0" destOrd="0" presId="urn:microsoft.com/office/officeart/2009/3/layout/HorizontalOrganizationChart"/>
    <dgm:cxn modelId="{6B968CD2-D1F7-49F4-B075-79AF237004F3}" type="presParOf" srcId="{A604F5CC-EA0C-465B-AA09-58BA5C447BF1}" destId="{34A0EE78-3DF5-4909-A7B6-15CBCD97511B}" srcOrd="1" destOrd="0" presId="urn:microsoft.com/office/officeart/2009/3/layout/HorizontalOrganizationChart"/>
    <dgm:cxn modelId="{EDE69E3A-E215-44DD-9679-06DAA47172E5}" type="presParOf" srcId="{34A0EE78-3DF5-4909-A7B6-15CBCD97511B}" destId="{29389128-715E-4BB8-9030-711F62B0656F}" srcOrd="0" destOrd="0" presId="urn:microsoft.com/office/officeart/2009/3/layout/HorizontalOrganizationChart"/>
    <dgm:cxn modelId="{75C0BF13-DA15-4A63-9CEE-B93BAD4683C2}" type="presParOf" srcId="{29389128-715E-4BB8-9030-711F62B0656F}" destId="{3F481A9A-E90C-4996-961E-95AB6F4713AE}" srcOrd="0" destOrd="0" presId="urn:microsoft.com/office/officeart/2009/3/layout/HorizontalOrganizationChart"/>
    <dgm:cxn modelId="{D7272D9E-4D44-4841-9B71-017E509C39BA}" type="presParOf" srcId="{29389128-715E-4BB8-9030-711F62B0656F}" destId="{F8C2BD55-4131-46B1-9C8F-F2A0FB0317A4}" srcOrd="1" destOrd="0" presId="urn:microsoft.com/office/officeart/2009/3/layout/HorizontalOrganizationChart"/>
    <dgm:cxn modelId="{3FC73C8A-AFE1-4615-AC0B-5019248FB91C}" type="presParOf" srcId="{34A0EE78-3DF5-4909-A7B6-15CBCD97511B}" destId="{89649727-9223-4170-8570-F806B1255349}" srcOrd="1" destOrd="0" presId="urn:microsoft.com/office/officeart/2009/3/layout/HorizontalOrganizationChart"/>
    <dgm:cxn modelId="{2922EC46-5370-4A84-AE01-5A3420680FF9}" type="presParOf" srcId="{89649727-9223-4170-8570-F806B1255349}" destId="{13B287E4-143C-46B8-BB97-EE4AB23BB594}" srcOrd="0" destOrd="0" presId="urn:microsoft.com/office/officeart/2009/3/layout/HorizontalOrganizationChart"/>
    <dgm:cxn modelId="{4855139E-E289-4EB4-914A-4B34803A4DB1}" type="presParOf" srcId="{89649727-9223-4170-8570-F806B1255349}" destId="{167D6D34-8479-49A9-90D8-463019E5D7C4}" srcOrd="1" destOrd="0" presId="urn:microsoft.com/office/officeart/2009/3/layout/HorizontalOrganizationChart"/>
    <dgm:cxn modelId="{23C62A9C-6DC5-4C39-92EE-F21D59DE8B96}" type="presParOf" srcId="{167D6D34-8479-49A9-90D8-463019E5D7C4}" destId="{3D41579B-CEFC-4F48-90A9-71177D2BC668}" srcOrd="0" destOrd="0" presId="urn:microsoft.com/office/officeart/2009/3/layout/HorizontalOrganizationChart"/>
    <dgm:cxn modelId="{C3982FFB-7834-46C3-9278-647F483BFB20}" type="presParOf" srcId="{3D41579B-CEFC-4F48-90A9-71177D2BC668}" destId="{819DBB63-9FFA-4E43-A6FD-4C64089534ED}" srcOrd="0" destOrd="0" presId="urn:microsoft.com/office/officeart/2009/3/layout/HorizontalOrganizationChart"/>
    <dgm:cxn modelId="{DE789B70-CCDC-44C3-8B23-7543A0DCA5CB}" type="presParOf" srcId="{3D41579B-CEFC-4F48-90A9-71177D2BC668}" destId="{61996124-B121-4C46-839E-B33748350A1C}" srcOrd="1" destOrd="0" presId="urn:microsoft.com/office/officeart/2009/3/layout/HorizontalOrganizationChart"/>
    <dgm:cxn modelId="{98D31722-8799-48ED-A5AD-F3F5E0B1E079}" type="presParOf" srcId="{167D6D34-8479-49A9-90D8-463019E5D7C4}" destId="{54A2FDD9-E01D-4F18-A735-3C0A31DB24C6}" srcOrd="1" destOrd="0" presId="urn:microsoft.com/office/officeart/2009/3/layout/HorizontalOrganizationChart"/>
    <dgm:cxn modelId="{1A5DEDE3-9F31-48C1-9A47-718ED66A0F68}" type="presParOf" srcId="{167D6D34-8479-49A9-90D8-463019E5D7C4}" destId="{A51272A7-807E-45A4-8542-482B290D118F}" srcOrd="2" destOrd="0" presId="urn:microsoft.com/office/officeart/2009/3/layout/HorizontalOrganizationChart"/>
    <dgm:cxn modelId="{6026102E-635F-423A-8033-DAA0F6D676C2}" type="presParOf" srcId="{34A0EE78-3DF5-4909-A7B6-15CBCD97511B}" destId="{012871F6-A4FF-4931-B07F-977EBC7CF012}" srcOrd="2" destOrd="0" presId="urn:microsoft.com/office/officeart/2009/3/layout/HorizontalOrganizationChart"/>
    <dgm:cxn modelId="{6474422E-2AF2-45F8-BDB3-DBBEC79660D8}" type="presParOf" srcId="{8B5217B2-D8A9-4406-95CD-193DFB136C0C}" destId="{FE254E6B-1A30-45E9-9FD1-F9E71E9C56CB}" srcOrd="2" destOrd="0" presId="urn:microsoft.com/office/officeart/2009/3/layout/HorizontalOrganizationChart"/>
    <dgm:cxn modelId="{EBB440D5-A500-4DA4-A822-9F39E7B8F05E}" type="presParOf" srcId="{5AF7821A-E4E4-49F2-8CDD-D8E21E18D6E7}" destId="{548E39BF-3D16-4FA0-806F-A12583432E44}" srcOrd="2" destOrd="0" presId="urn:microsoft.com/office/officeart/2009/3/layout/HorizontalOrganizationChart"/>
    <dgm:cxn modelId="{8798A827-08E9-40B2-8223-DD0C6907ABC8}" type="presParOf" srcId="{548E39BF-3D16-4FA0-806F-A12583432E44}" destId="{CE63C615-46B4-4681-A9AF-FAB968BA1A11}" srcOrd="0" destOrd="0" presId="urn:microsoft.com/office/officeart/2009/3/layout/HorizontalOrganizationChart"/>
    <dgm:cxn modelId="{7D8921AD-D947-413C-8415-4652D310D4DB}" type="presParOf" srcId="{CE63C615-46B4-4681-A9AF-FAB968BA1A11}" destId="{34B92687-26AF-45EB-AA9C-D562FD3F5B8B}" srcOrd="0" destOrd="0" presId="urn:microsoft.com/office/officeart/2009/3/layout/HorizontalOrganizationChart"/>
    <dgm:cxn modelId="{7AAAF7CD-F492-4AC6-9376-35940E9D4017}" type="presParOf" srcId="{CE63C615-46B4-4681-A9AF-FAB968BA1A11}" destId="{10904998-4AC3-4226-96FF-4468A42FBDAE}" srcOrd="1" destOrd="0" presId="urn:microsoft.com/office/officeart/2009/3/layout/HorizontalOrganizationChart"/>
    <dgm:cxn modelId="{7BF5831F-98A1-4ADE-8113-CD901AF1B4C6}" type="presParOf" srcId="{548E39BF-3D16-4FA0-806F-A12583432E44}" destId="{314849F8-32DF-4E05-86A2-78390C9812CA}" srcOrd="1" destOrd="0" presId="urn:microsoft.com/office/officeart/2009/3/layout/HorizontalOrganizationChart"/>
    <dgm:cxn modelId="{DE005104-8D57-499F-B9A8-887DA978CBAB}" type="presParOf" srcId="{314849F8-32DF-4E05-86A2-78390C9812CA}" destId="{F580550D-7334-4B9E-95B2-51BB673FC8D1}" srcOrd="0" destOrd="0" presId="urn:microsoft.com/office/officeart/2009/3/layout/HorizontalOrganizationChart"/>
    <dgm:cxn modelId="{B531C35A-EB47-4B91-9986-AB28C4E2CE6C}" type="presParOf" srcId="{314849F8-32DF-4E05-86A2-78390C9812CA}" destId="{5D024D76-02E8-4BC8-B6A7-1ED65FC22934}" srcOrd="1" destOrd="0" presId="urn:microsoft.com/office/officeart/2009/3/layout/HorizontalOrganizationChart"/>
    <dgm:cxn modelId="{2587C728-F6F0-460E-926E-C0B52D55C601}" type="presParOf" srcId="{5D024D76-02E8-4BC8-B6A7-1ED65FC22934}" destId="{58B89B0E-A179-4F98-A109-D527ACCA21EB}" srcOrd="0" destOrd="0" presId="urn:microsoft.com/office/officeart/2009/3/layout/HorizontalOrganizationChart"/>
    <dgm:cxn modelId="{35D3DED1-7FCA-47F8-B12B-E77E3C4C271F}" type="presParOf" srcId="{58B89B0E-A179-4F98-A109-D527ACCA21EB}" destId="{4DA49A07-9EA0-48E0-9D38-EEBB3D0A0EA8}" srcOrd="0" destOrd="0" presId="urn:microsoft.com/office/officeart/2009/3/layout/HorizontalOrganizationChart"/>
    <dgm:cxn modelId="{FC8DAD8A-C863-473D-8695-5C4EA024E801}" type="presParOf" srcId="{58B89B0E-A179-4F98-A109-D527ACCA21EB}" destId="{791FDAA3-E3B9-44A0-A506-C5A7896959A9}" srcOrd="1" destOrd="0" presId="urn:microsoft.com/office/officeart/2009/3/layout/HorizontalOrganizationChart"/>
    <dgm:cxn modelId="{B246D775-0FE2-40D7-9F7A-72403DF26539}" type="presParOf" srcId="{5D024D76-02E8-4BC8-B6A7-1ED65FC22934}" destId="{F4BAA4A6-4A8D-4FE3-BE4B-970580080373}" srcOrd="1" destOrd="0" presId="urn:microsoft.com/office/officeart/2009/3/layout/HorizontalOrganizationChart"/>
    <dgm:cxn modelId="{72582537-9E13-4CE4-A7EB-27A8DBDDA405}" type="presParOf" srcId="{F4BAA4A6-4A8D-4FE3-BE4B-970580080373}" destId="{88CBFC17-B32F-40BB-A01F-845BE2F3B3D2}" srcOrd="0" destOrd="0" presId="urn:microsoft.com/office/officeart/2009/3/layout/HorizontalOrganizationChart"/>
    <dgm:cxn modelId="{F516562D-EF0A-44DE-9846-76B795DE88C2}" type="presParOf" srcId="{F4BAA4A6-4A8D-4FE3-BE4B-970580080373}" destId="{497FC27D-FBFD-40FD-B143-73D58863783C}" srcOrd="1" destOrd="0" presId="urn:microsoft.com/office/officeart/2009/3/layout/HorizontalOrganizationChart"/>
    <dgm:cxn modelId="{C1822370-1C64-47E7-880D-F591532AE0CA}" type="presParOf" srcId="{497FC27D-FBFD-40FD-B143-73D58863783C}" destId="{7A78D83F-1F19-49EA-A692-D8C7154E0D2A}" srcOrd="0" destOrd="0" presId="urn:microsoft.com/office/officeart/2009/3/layout/HorizontalOrganizationChart"/>
    <dgm:cxn modelId="{8899BF02-FEAD-4211-8110-6A67B65C57E3}" type="presParOf" srcId="{7A78D83F-1F19-49EA-A692-D8C7154E0D2A}" destId="{185F49BA-0FB4-494E-888E-7DA48969E1D5}" srcOrd="0" destOrd="0" presId="urn:microsoft.com/office/officeart/2009/3/layout/HorizontalOrganizationChart"/>
    <dgm:cxn modelId="{FCB7DEA7-561F-47FB-9AC0-AF6C2EB09976}" type="presParOf" srcId="{7A78D83F-1F19-49EA-A692-D8C7154E0D2A}" destId="{B807D448-C164-41F3-952C-4662C5DAB639}" srcOrd="1" destOrd="0" presId="urn:microsoft.com/office/officeart/2009/3/layout/HorizontalOrganizationChart"/>
    <dgm:cxn modelId="{0271B7FF-3CD7-4B77-AC13-2612D46B96A6}" type="presParOf" srcId="{497FC27D-FBFD-40FD-B143-73D58863783C}" destId="{41C29178-ECF4-45D7-97EE-1D8ED8D70730}" srcOrd="1" destOrd="0" presId="urn:microsoft.com/office/officeart/2009/3/layout/HorizontalOrganizationChart"/>
    <dgm:cxn modelId="{0F00EE3D-BD17-4AFB-9E15-2FF710E5D2F3}" type="presParOf" srcId="{497FC27D-FBFD-40FD-B143-73D58863783C}" destId="{C84A8BD9-3428-4B7A-98EA-1C0776D2CFCB}" srcOrd="2" destOrd="0" presId="urn:microsoft.com/office/officeart/2009/3/layout/HorizontalOrganizationChart"/>
    <dgm:cxn modelId="{A23F30DD-A37D-4D01-8374-0A63EB240120}" type="presParOf" srcId="{5D024D76-02E8-4BC8-B6A7-1ED65FC22934}" destId="{3EF75164-2C5D-4F1B-95FD-4DE87B539CD2}" srcOrd="2" destOrd="0" presId="urn:microsoft.com/office/officeart/2009/3/layout/HorizontalOrganizationChart"/>
    <dgm:cxn modelId="{143D8377-5E09-4170-B740-13CC296313A0}" type="presParOf" srcId="{548E39BF-3D16-4FA0-806F-A12583432E44}" destId="{D01537A8-DB3F-48BC-9816-2C81E1C2DE94}" srcOrd="2" destOrd="0" presId="urn:microsoft.com/office/officeart/2009/3/layout/HorizontalOrganizationChar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D0D810A-461B-43AB-9074-9E97C0408D20}" type="doc">
      <dgm:prSet loTypeId="urn:microsoft.com/office/officeart/2009/3/layout/HorizontalOrganizationChart" loCatId="hierarchy" qsTypeId="urn:microsoft.com/office/officeart/2005/8/quickstyle/simple1" qsCatId="simple" csTypeId="urn:microsoft.com/office/officeart/2005/8/colors/accent2_2" csCatId="accent2" phldr="1"/>
      <dgm:spPr/>
      <dgm:t>
        <a:bodyPr/>
        <a:lstStyle/>
        <a:p>
          <a:endParaRPr lang="en-US"/>
        </a:p>
      </dgm:t>
    </dgm:pt>
    <dgm:pt modelId="{FD7FAD90-BB4B-4012-8D13-9F856976AA67}">
      <dgm:prSet custT="1"/>
      <dgm:spPr>
        <a:solidFill>
          <a:schemeClr val="bg2">
            <a:lumMod val="60000"/>
            <a:lumOff val="40000"/>
          </a:schemeClr>
        </a:solidFill>
      </dgm:spPr>
      <dgm:t>
        <a:bodyPr/>
        <a:lstStyle/>
        <a:p>
          <a:r>
            <a:rPr lang="en-US" sz="1200" b="1" baseline="0" dirty="0">
              <a:latin typeface="+mj-lt"/>
            </a:rPr>
            <a:t>SPA</a:t>
          </a:r>
        </a:p>
      </dgm:t>
    </dgm:pt>
    <dgm:pt modelId="{630DAAD5-A305-4EBB-9899-24FE19ECCAEA}" type="parTrans" cxnId="{7942EEFD-1053-428D-A22D-A2E6A5CEC71F}">
      <dgm:prSet/>
      <dgm:spPr/>
      <dgm:t>
        <a:bodyPr/>
        <a:lstStyle/>
        <a:p>
          <a:endParaRPr lang="en-US" sz="1200" b="1"/>
        </a:p>
      </dgm:t>
    </dgm:pt>
    <dgm:pt modelId="{EA0BA6A4-443D-48A6-B406-9AD78CBBC07A}" type="sibTrans" cxnId="{7942EEFD-1053-428D-A22D-A2E6A5CEC71F}">
      <dgm:prSet/>
      <dgm:spPr/>
      <dgm:t>
        <a:bodyPr/>
        <a:lstStyle/>
        <a:p>
          <a:endParaRPr lang="en-US" sz="1200" b="1"/>
        </a:p>
      </dgm:t>
    </dgm:pt>
    <dgm:pt modelId="{7B5656C3-7C05-40A5-9696-04E748223089}">
      <dgm:prSet custT="1"/>
      <dgm:spPr>
        <a:solidFill>
          <a:schemeClr val="bg2">
            <a:lumMod val="60000"/>
            <a:lumOff val="40000"/>
          </a:schemeClr>
        </a:solidFill>
      </dgm:spPr>
      <dgm:t>
        <a:bodyPr/>
        <a:lstStyle/>
        <a:p>
          <a:r>
            <a:rPr lang="en-US" sz="1200" b="1" baseline="0" dirty="0">
              <a:latin typeface="+mj-lt"/>
            </a:rPr>
            <a:t>Approved</a:t>
          </a:r>
        </a:p>
      </dgm:t>
    </dgm:pt>
    <dgm:pt modelId="{42E17C05-21F0-41B4-B54B-D4B800F4CFDE}" type="parTrans" cxnId="{886B99FE-F954-4514-921D-F760C48E74D9}">
      <dgm:prSet/>
      <dgm:spPr/>
      <dgm:t>
        <a:bodyPr/>
        <a:lstStyle/>
        <a:p>
          <a:endParaRPr lang="en-US" sz="1200" b="1"/>
        </a:p>
      </dgm:t>
    </dgm:pt>
    <dgm:pt modelId="{616C326C-4709-4B48-8294-E5BAFAB16CAC}" type="sibTrans" cxnId="{886B99FE-F954-4514-921D-F760C48E74D9}">
      <dgm:prSet/>
      <dgm:spPr/>
      <dgm:t>
        <a:bodyPr/>
        <a:lstStyle/>
        <a:p>
          <a:endParaRPr lang="en-US" sz="1200" b="1"/>
        </a:p>
      </dgm:t>
    </dgm:pt>
    <dgm:pt modelId="{08EED27D-B691-455A-8D11-8D4400592106}">
      <dgm:prSet phldrT="[Text]" custT="1"/>
      <dgm:spPr>
        <a:solidFill>
          <a:schemeClr val="accent2"/>
        </a:solidFill>
      </dgm:spPr>
      <dgm:t>
        <a:bodyPr/>
        <a:lstStyle/>
        <a:p>
          <a:r>
            <a:rPr lang="en-US" sz="1200" b="1" dirty="0">
              <a:latin typeface="+mj-lt"/>
            </a:rPr>
            <a:t>Approved</a:t>
          </a:r>
        </a:p>
      </dgm:t>
    </dgm:pt>
    <dgm:pt modelId="{500D8E4F-2815-497E-8509-B9D2A67FB7E0}">
      <dgm:prSet phldrT="[Text]" custT="1"/>
      <dgm:spPr>
        <a:solidFill>
          <a:schemeClr val="accent2"/>
        </a:solidFill>
      </dgm:spPr>
      <dgm:t>
        <a:bodyPr/>
        <a:lstStyle/>
        <a:p>
          <a:r>
            <a:rPr lang="en-US" sz="1200" b="1" dirty="0">
              <a:latin typeface="+mj-lt"/>
            </a:rPr>
            <a:t>1115 waiver</a:t>
          </a:r>
          <a:endParaRPr lang="en-US" sz="1200" b="1" baseline="30000" dirty="0">
            <a:latin typeface="+mj-lt"/>
          </a:endParaRPr>
        </a:p>
      </dgm:t>
    </dgm:pt>
    <dgm:pt modelId="{43584BFA-CFB5-402E-9085-ECF8ABFDD67E}" type="sibTrans" cxnId="{2EABA069-EC12-4D06-907B-90EA5D7C99D2}">
      <dgm:prSet/>
      <dgm:spPr/>
      <dgm:t>
        <a:bodyPr/>
        <a:lstStyle/>
        <a:p>
          <a:endParaRPr lang="en-US" sz="1200" b="1"/>
        </a:p>
      </dgm:t>
    </dgm:pt>
    <dgm:pt modelId="{EAD223CF-F517-4779-8EB8-8AE1D099BB36}" type="parTrans" cxnId="{2EABA069-EC12-4D06-907B-90EA5D7C99D2}">
      <dgm:prSet/>
      <dgm:spPr/>
      <dgm:t>
        <a:bodyPr/>
        <a:lstStyle/>
        <a:p>
          <a:endParaRPr lang="en-US" sz="1200" b="1"/>
        </a:p>
      </dgm:t>
    </dgm:pt>
    <dgm:pt modelId="{7B5F34EC-77F8-4B43-BB2C-33BBF5B01984}" type="sibTrans" cxnId="{A3225DBE-FBF4-4CA6-9910-43E74A7EDDCD}">
      <dgm:prSet/>
      <dgm:spPr/>
      <dgm:t>
        <a:bodyPr/>
        <a:lstStyle/>
        <a:p>
          <a:endParaRPr lang="en-US" sz="1200" b="1"/>
        </a:p>
      </dgm:t>
    </dgm:pt>
    <dgm:pt modelId="{1BD718C0-8E31-4C02-8936-3DC9E7EB711A}" type="parTrans" cxnId="{A3225DBE-FBF4-4CA6-9910-43E74A7EDDCD}">
      <dgm:prSet/>
      <dgm:spPr/>
      <dgm:t>
        <a:bodyPr/>
        <a:lstStyle/>
        <a:p>
          <a:endParaRPr lang="en-US" sz="1200" b="1"/>
        </a:p>
      </dgm:t>
    </dgm:pt>
    <dgm:pt modelId="{CA57C52B-EC7A-4A69-8B57-33E0DA27BF02}">
      <dgm:prSet custT="1"/>
      <dgm:spPr/>
      <dgm:t>
        <a:bodyPr/>
        <a:lstStyle/>
        <a:p>
          <a:r>
            <a:rPr lang="en-US" sz="1200" b="1" dirty="0">
              <a:latin typeface="+mj-lt"/>
            </a:rPr>
            <a:t>Denied</a:t>
          </a:r>
        </a:p>
      </dgm:t>
    </dgm:pt>
    <dgm:pt modelId="{690DBB26-FEE6-41EB-873D-955148B1E3AE}" type="parTrans" cxnId="{2F50CF09-2150-42E7-AD95-4561958875CC}">
      <dgm:prSet/>
      <dgm:spPr/>
      <dgm:t>
        <a:bodyPr/>
        <a:lstStyle/>
        <a:p>
          <a:endParaRPr lang="en-US"/>
        </a:p>
      </dgm:t>
    </dgm:pt>
    <dgm:pt modelId="{7FEBBC42-23C0-4038-9FC7-A08BE362B745}" type="sibTrans" cxnId="{2F50CF09-2150-42E7-AD95-4561958875CC}">
      <dgm:prSet/>
      <dgm:spPr/>
      <dgm:t>
        <a:bodyPr/>
        <a:lstStyle/>
        <a:p>
          <a:endParaRPr lang="en-US"/>
        </a:p>
      </dgm:t>
    </dgm:pt>
    <dgm:pt modelId="{10B78D76-D250-4F7C-B472-32C37A2A1617}">
      <dgm:prSet custT="1"/>
      <dgm:spPr/>
      <dgm:t>
        <a:bodyPr/>
        <a:lstStyle/>
        <a:p>
          <a:r>
            <a:rPr lang="en-US" sz="1200" b="1" dirty="0"/>
            <a:t>Delay*</a:t>
          </a:r>
        </a:p>
      </dgm:t>
    </dgm:pt>
    <dgm:pt modelId="{B52B1681-B65E-459F-A133-2629AAF065EF}" type="parTrans" cxnId="{E58C5E59-6F1D-4E5E-B21E-E3C2F30B2368}">
      <dgm:prSet/>
      <dgm:spPr/>
      <dgm:t>
        <a:bodyPr/>
        <a:lstStyle/>
        <a:p>
          <a:endParaRPr lang="en-US"/>
        </a:p>
      </dgm:t>
    </dgm:pt>
    <dgm:pt modelId="{5C53EAA2-9024-487C-BF1A-2C3C102C03FE}" type="sibTrans" cxnId="{E58C5E59-6F1D-4E5E-B21E-E3C2F30B2368}">
      <dgm:prSet/>
      <dgm:spPr/>
      <dgm:t>
        <a:bodyPr/>
        <a:lstStyle/>
        <a:p>
          <a:endParaRPr lang="en-US"/>
        </a:p>
      </dgm:t>
    </dgm:pt>
    <dgm:pt modelId="{5AF7821A-E4E4-49F2-8CDD-D8E21E18D6E7}" type="pres">
      <dgm:prSet presAssocID="{DD0D810A-461B-43AB-9074-9E97C0408D20}" presName="hierChild1" presStyleCnt="0">
        <dgm:presLayoutVars>
          <dgm:orgChart val="1"/>
          <dgm:chPref val="1"/>
          <dgm:dir/>
          <dgm:animOne val="branch"/>
          <dgm:animLvl val="lvl"/>
          <dgm:resizeHandles/>
        </dgm:presLayoutVars>
      </dgm:prSet>
      <dgm:spPr/>
    </dgm:pt>
    <dgm:pt modelId="{1EC5381C-7822-454D-89B8-C196606F0848}" type="pres">
      <dgm:prSet presAssocID="{FD7FAD90-BB4B-4012-8D13-9F856976AA67}" presName="hierRoot1" presStyleCnt="0">
        <dgm:presLayoutVars>
          <dgm:hierBranch val="init"/>
        </dgm:presLayoutVars>
      </dgm:prSet>
      <dgm:spPr/>
    </dgm:pt>
    <dgm:pt modelId="{BE4C360D-0695-4556-A8BB-D8E0AAE0D712}" type="pres">
      <dgm:prSet presAssocID="{FD7FAD90-BB4B-4012-8D13-9F856976AA67}" presName="rootComposite1" presStyleCnt="0"/>
      <dgm:spPr/>
    </dgm:pt>
    <dgm:pt modelId="{68BD075B-C694-4A97-8ECA-96FB005080EE}" type="pres">
      <dgm:prSet presAssocID="{FD7FAD90-BB4B-4012-8D13-9F856976AA67}" presName="rootText1" presStyleLbl="node0" presStyleIdx="0" presStyleCnt="2">
        <dgm:presLayoutVars>
          <dgm:chPref val="3"/>
        </dgm:presLayoutVars>
      </dgm:prSet>
      <dgm:spPr>
        <a:prstGeom prst="roundRect">
          <a:avLst/>
        </a:prstGeom>
      </dgm:spPr>
    </dgm:pt>
    <dgm:pt modelId="{EBF8284A-7FED-45F6-9524-71BE7355EC57}" type="pres">
      <dgm:prSet presAssocID="{FD7FAD90-BB4B-4012-8D13-9F856976AA67}" presName="rootConnector1" presStyleLbl="node1" presStyleIdx="0" presStyleCnt="0"/>
      <dgm:spPr/>
    </dgm:pt>
    <dgm:pt modelId="{87C96744-C259-4D12-9095-009A82984DE0}" type="pres">
      <dgm:prSet presAssocID="{FD7FAD90-BB4B-4012-8D13-9F856976AA67}" presName="hierChild2" presStyleCnt="0"/>
      <dgm:spPr/>
    </dgm:pt>
    <dgm:pt modelId="{F67CE4BB-3745-47AB-B95A-714BC82C109F}" type="pres">
      <dgm:prSet presAssocID="{42E17C05-21F0-41B4-B54B-D4B800F4CFDE}" presName="Name64" presStyleLbl="parChTrans1D2" presStyleIdx="0" presStyleCnt="4"/>
      <dgm:spPr/>
    </dgm:pt>
    <dgm:pt modelId="{4E8A01CF-C0C6-4E7D-912E-93E9B28CB6C6}" type="pres">
      <dgm:prSet presAssocID="{7B5656C3-7C05-40A5-9696-04E748223089}" presName="hierRoot2" presStyleCnt="0">
        <dgm:presLayoutVars>
          <dgm:hierBranch val="init"/>
        </dgm:presLayoutVars>
      </dgm:prSet>
      <dgm:spPr/>
    </dgm:pt>
    <dgm:pt modelId="{1C9C5E79-8F42-4F62-ACAC-2BF7672A9151}" type="pres">
      <dgm:prSet presAssocID="{7B5656C3-7C05-40A5-9696-04E748223089}" presName="rootComposite" presStyleCnt="0"/>
      <dgm:spPr/>
    </dgm:pt>
    <dgm:pt modelId="{F2D44061-3F54-46D3-B092-124DCE2E8121}" type="pres">
      <dgm:prSet presAssocID="{7B5656C3-7C05-40A5-9696-04E748223089}" presName="rootText" presStyleLbl="node2" presStyleIdx="0" presStyleCnt="4">
        <dgm:presLayoutVars>
          <dgm:chPref val="3"/>
        </dgm:presLayoutVars>
      </dgm:prSet>
      <dgm:spPr>
        <a:prstGeom prst="ellipse">
          <a:avLst/>
        </a:prstGeom>
      </dgm:spPr>
    </dgm:pt>
    <dgm:pt modelId="{4641AED7-81EE-4C53-85BC-B06D989B5298}" type="pres">
      <dgm:prSet presAssocID="{7B5656C3-7C05-40A5-9696-04E748223089}" presName="rootConnector" presStyleLbl="node2" presStyleIdx="0" presStyleCnt="4"/>
      <dgm:spPr/>
    </dgm:pt>
    <dgm:pt modelId="{64F6B278-DE5B-4C60-8010-3BC18042AE4A}" type="pres">
      <dgm:prSet presAssocID="{7B5656C3-7C05-40A5-9696-04E748223089}" presName="hierChild4" presStyleCnt="0"/>
      <dgm:spPr/>
    </dgm:pt>
    <dgm:pt modelId="{93D1D8A8-58B4-4DD7-97B2-8F65889E7488}" type="pres">
      <dgm:prSet presAssocID="{7B5656C3-7C05-40A5-9696-04E748223089}" presName="hierChild5" presStyleCnt="0"/>
      <dgm:spPr/>
    </dgm:pt>
    <dgm:pt modelId="{C164E9D4-E4CB-4563-AFBC-C1531A74DD65}" type="pres">
      <dgm:prSet presAssocID="{FD7FAD90-BB4B-4012-8D13-9F856976AA67}" presName="hierChild3" presStyleCnt="0"/>
      <dgm:spPr/>
    </dgm:pt>
    <dgm:pt modelId="{37F4E887-9AB5-4A1B-8AB7-17A4FB4763A2}" type="pres">
      <dgm:prSet presAssocID="{500D8E4F-2815-497E-8509-B9D2A67FB7E0}" presName="hierRoot1" presStyleCnt="0">
        <dgm:presLayoutVars>
          <dgm:hierBranch val="init"/>
        </dgm:presLayoutVars>
      </dgm:prSet>
      <dgm:spPr/>
    </dgm:pt>
    <dgm:pt modelId="{1EB84C42-2042-405B-ABF4-B84C590152FD}" type="pres">
      <dgm:prSet presAssocID="{500D8E4F-2815-497E-8509-B9D2A67FB7E0}" presName="rootComposite1" presStyleCnt="0"/>
      <dgm:spPr/>
    </dgm:pt>
    <dgm:pt modelId="{7C97E42F-1B16-46A9-9A74-EEA8016BCEF7}" type="pres">
      <dgm:prSet presAssocID="{500D8E4F-2815-497E-8509-B9D2A67FB7E0}" presName="rootText1" presStyleLbl="node0" presStyleIdx="1" presStyleCnt="2">
        <dgm:presLayoutVars>
          <dgm:chPref val="3"/>
        </dgm:presLayoutVars>
      </dgm:prSet>
      <dgm:spPr>
        <a:prstGeom prst="roundRect">
          <a:avLst/>
        </a:prstGeom>
      </dgm:spPr>
    </dgm:pt>
    <dgm:pt modelId="{1BD0D4E9-0148-42E6-ABF9-A9ADB864F0E4}" type="pres">
      <dgm:prSet presAssocID="{500D8E4F-2815-497E-8509-B9D2A67FB7E0}" presName="rootConnector1" presStyleLbl="node1" presStyleIdx="0" presStyleCnt="0"/>
      <dgm:spPr/>
    </dgm:pt>
    <dgm:pt modelId="{E94F53F7-97C9-4733-BF76-7FA0EC78946E}" type="pres">
      <dgm:prSet presAssocID="{500D8E4F-2815-497E-8509-B9D2A67FB7E0}" presName="hierChild2" presStyleCnt="0"/>
      <dgm:spPr/>
    </dgm:pt>
    <dgm:pt modelId="{B424F5A6-E31E-4538-B20B-89CB9CA6EB53}" type="pres">
      <dgm:prSet presAssocID="{1BD718C0-8E31-4C02-8936-3DC9E7EB711A}" presName="Name64" presStyleLbl="parChTrans1D2" presStyleIdx="1" presStyleCnt="4"/>
      <dgm:spPr/>
    </dgm:pt>
    <dgm:pt modelId="{3A8DF9DB-2E77-4DAB-BC0B-B92EB1FF8BC5}" type="pres">
      <dgm:prSet presAssocID="{08EED27D-B691-455A-8D11-8D4400592106}" presName="hierRoot2" presStyleCnt="0">
        <dgm:presLayoutVars>
          <dgm:hierBranch val="init"/>
        </dgm:presLayoutVars>
      </dgm:prSet>
      <dgm:spPr/>
    </dgm:pt>
    <dgm:pt modelId="{4C41DFD4-F6DF-4612-830C-2F909B3A1F5B}" type="pres">
      <dgm:prSet presAssocID="{08EED27D-B691-455A-8D11-8D4400592106}" presName="rootComposite" presStyleCnt="0"/>
      <dgm:spPr/>
    </dgm:pt>
    <dgm:pt modelId="{F7B5F65C-7F4E-4947-B4BA-38FBE2BE4761}" type="pres">
      <dgm:prSet presAssocID="{08EED27D-B691-455A-8D11-8D4400592106}" presName="rootText" presStyleLbl="node2" presStyleIdx="1" presStyleCnt="4">
        <dgm:presLayoutVars>
          <dgm:chPref val="3"/>
        </dgm:presLayoutVars>
      </dgm:prSet>
      <dgm:spPr>
        <a:prstGeom prst="ellipse">
          <a:avLst/>
        </a:prstGeom>
      </dgm:spPr>
    </dgm:pt>
    <dgm:pt modelId="{732C192C-E27C-40C8-8819-4090783C1701}" type="pres">
      <dgm:prSet presAssocID="{08EED27D-B691-455A-8D11-8D4400592106}" presName="rootConnector" presStyleLbl="node2" presStyleIdx="1" presStyleCnt="4"/>
      <dgm:spPr/>
    </dgm:pt>
    <dgm:pt modelId="{948BF28F-AF9F-45A9-BA48-BBDF682A2667}" type="pres">
      <dgm:prSet presAssocID="{08EED27D-B691-455A-8D11-8D4400592106}" presName="hierChild4" presStyleCnt="0"/>
      <dgm:spPr/>
    </dgm:pt>
    <dgm:pt modelId="{C9D9FA34-D2C9-4FCE-A862-266806C57C43}" type="pres">
      <dgm:prSet presAssocID="{08EED27D-B691-455A-8D11-8D4400592106}" presName="hierChild5" presStyleCnt="0"/>
      <dgm:spPr/>
    </dgm:pt>
    <dgm:pt modelId="{C218DCC8-B3F6-4553-A35E-39FE07DF2DAA}" type="pres">
      <dgm:prSet presAssocID="{690DBB26-FEE6-41EB-873D-955148B1E3AE}" presName="Name64" presStyleLbl="parChTrans1D2" presStyleIdx="2" presStyleCnt="4"/>
      <dgm:spPr/>
    </dgm:pt>
    <dgm:pt modelId="{64E68080-E4D4-4E3E-8A4C-A815520E1217}" type="pres">
      <dgm:prSet presAssocID="{CA57C52B-EC7A-4A69-8B57-33E0DA27BF02}" presName="hierRoot2" presStyleCnt="0">
        <dgm:presLayoutVars>
          <dgm:hierBranch val="init"/>
        </dgm:presLayoutVars>
      </dgm:prSet>
      <dgm:spPr/>
    </dgm:pt>
    <dgm:pt modelId="{936D5079-94D8-4C46-913B-ACC217C85D76}" type="pres">
      <dgm:prSet presAssocID="{CA57C52B-EC7A-4A69-8B57-33E0DA27BF02}" presName="rootComposite" presStyleCnt="0"/>
      <dgm:spPr/>
    </dgm:pt>
    <dgm:pt modelId="{6F9AD989-1A8E-48F4-A9D8-265BCF14ADCF}" type="pres">
      <dgm:prSet presAssocID="{CA57C52B-EC7A-4A69-8B57-33E0DA27BF02}" presName="rootText" presStyleLbl="node2" presStyleIdx="2" presStyleCnt="4">
        <dgm:presLayoutVars>
          <dgm:chPref val="3"/>
        </dgm:presLayoutVars>
      </dgm:prSet>
      <dgm:spPr>
        <a:prstGeom prst="ellipse">
          <a:avLst/>
        </a:prstGeom>
      </dgm:spPr>
    </dgm:pt>
    <dgm:pt modelId="{4ABDC99F-2B71-444B-B020-3A69400E4FAE}" type="pres">
      <dgm:prSet presAssocID="{CA57C52B-EC7A-4A69-8B57-33E0DA27BF02}" presName="rootConnector" presStyleLbl="node2" presStyleIdx="2" presStyleCnt="4"/>
      <dgm:spPr/>
    </dgm:pt>
    <dgm:pt modelId="{3F0EF323-EDF4-4BBB-B4A8-E255A967C689}" type="pres">
      <dgm:prSet presAssocID="{CA57C52B-EC7A-4A69-8B57-33E0DA27BF02}" presName="hierChild4" presStyleCnt="0"/>
      <dgm:spPr/>
    </dgm:pt>
    <dgm:pt modelId="{10362FC5-008A-4E2E-AB8A-68CE40AD8B9A}" type="pres">
      <dgm:prSet presAssocID="{CA57C52B-EC7A-4A69-8B57-33E0DA27BF02}" presName="hierChild5" presStyleCnt="0"/>
      <dgm:spPr/>
    </dgm:pt>
    <dgm:pt modelId="{08CAC166-090C-4FA3-B7F3-8FC6CBBB9D84}" type="pres">
      <dgm:prSet presAssocID="{B52B1681-B65E-459F-A133-2629AAF065EF}" presName="Name64" presStyleLbl="parChTrans1D2" presStyleIdx="3" presStyleCnt="4"/>
      <dgm:spPr/>
    </dgm:pt>
    <dgm:pt modelId="{B85753B9-FDE1-4363-920F-2791AEC58F87}" type="pres">
      <dgm:prSet presAssocID="{10B78D76-D250-4F7C-B472-32C37A2A1617}" presName="hierRoot2" presStyleCnt="0">
        <dgm:presLayoutVars>
          <dgm:hierBranch val="init"/>
        </dgm:presLayoutVars>
      </dgm:prSet>
      <dgm:spPr/>
    </dgm:pt>
    <dgm:pt modelId="{2A27CAAD-DB09-4C56-BDEF-9ABBC2D13BB2}" type="pres">
      <dgm:prSet presAssocID="{10B78D76-D250-4F7C-B472-32C37A2A1617}" presName="rootComposite" presStyleCnt="0"/>
      <dgm:spPr/>
    </dgm:pt>
    <dgm:pt modelId="{002154C2-BEA9-4DDA-AD72-66174047192C}" type="pres">
      <dgm:prSet presAssocID="{10B78D76-D250-4F7C-B472-32C37A2A1617}" presName="rootText" presStyleLbl="node2" presStyleIdx="3" presStyleCnt="4">
        <dgm:presLayoutVars>
          <dgm:chPref val="3"/>
        </dgm:presLayoutVars>
      </dgm:prSet>
      <dgm:spPr>
        <a:prstGeom prst="ellipse">
          <a:avLst/>
        </a:prstGeom>
      </dgm:spPr>
    </dgm:pt>
    <dgm:pt modelId="{394A2B90-B17B-4AD2-A0C6-6D975E1AD9E3}" type="pres">
      <dgm:prSet presAssocID="{10B78D76-D250-4F7C-B472-32C37A2A1617}" presName="rootConnector" presStyleLbl="node2" presStyleIdx="3" presStyleCnt="4"/>
      <dgm:spPr/>
    </dgm:pt>
    <dgm:pt modelId="{EC228207-2B0F-4224-BEB5-7FE03E358FF9}" type="pres">
      <dgm:prSet presAssocID="{10B78D76-D250-4F7C-B472-32C37A2A1617}" presName="hierChild4" presStyleCnt="0"/>
      <dgm:spPr/>
    </dgm:pt>
    <dgm:pt modelId="{2BD6A6CF-ED37-4B22-B6C7-E0B52E5A6967}" type="pres">
      <dgm:prSet presAssocID="{10B78D76-D250-4F7C-B472-32C37A2A1617}" presName="hierChild5" presStyleCnt="0"/>
      <dgm:spPr/>
    </dgm:pt>
    <dgm:pt modelId="{471D85D6-706C-4286-9953-9A06F09429A9}" type="pres">
      <dgm:prSet presAssocID="{500D8E4F-2815-497E-8509-B9D2A67FB7E0}" presName="hierChild3" presStyleCnt="0"/>
      <dgm:spPr/>
    </dgm:pt>
  </dgm:ptLst>
  <dgm:cxnLst>
    <dgm:cxn modelId="{2F50CF09-2150-42E7-AD95-4561958875CC}" srcId="{500D8E4F-2815-497E-8509-B9D2A67FB7E0}" destId="{CA57C52B-EC7A-4A69-8B57-33E0DA27BF02}" srcOrd="1" destOrd="0" parTransId="{690DBB26-FEE6-41EB-873D-955148B1E3AE}" sibTransId="{7FEBBC42-23C0-4038-9FC7-A08BE362B745}"/>
    <dgm:cxn modelId="{CC18D823-B619-4F59-9199-9632B0E93C6E}" type="presOf" srcId="{B52B1681-B65E-459F-A133-2629AAF065EF}" destId="{08CAC166-090C-4FA3-B7F3-8FC6CBBB9D84}" srcOrd="0" destOrd="0" presId="urn:microsoft.com/office/officeart/2009/3/layout/HorizontalOrganizationChart"/>
    <dgm:cxn modelId="{34026D32-DC11-4ACF-B158-07B0B764881E}" type="presOf" srcId="{08EED27D-B691-455A-8D11-8D4400592106}" destId="{732C192C-E27C-40C8-8819-4090783C1701}" srcOrd="1" destOrd="0" presId="urn:microsoft.com/office/officeart/2009/3/layout/HorizontalOrganizationChart"/>
    <dgm:cxn modelId="{B24BBA34-1CB9-4137-B96C-348825BE9792}" type="presOf" srcId="{FD7FAD90-BB4B-4012-8D13-9F856976AA67}" destId="{68BD075B-C694-4A97-8ECA-96FB005080EE}" srcOrd="0" destOrd="0" presId="urn:microsoft.com/office/officeart/2009/3/layout/HorizontalOrganizationChart"/>
    <dgm:cxn modelId="{7E29A435-45B0-44A7-B9FB-9EAC137A3D1B}" type="presOf" srcId="{500D8E4F-2815-497E-8509-B9D2A67FB7E0}" destId="{7C97E42F-1B16-46A9-9A74-EEA8016BCEF7}" srcOrd="0" destOrd="0" presId="urn:microsoft.com/office/officeart/2009/3/layout/HorizontalOrganizationChart"/>
    <dgm:cxn modelId="{2BC1AD45-35CD-4D1F-B49E-29BE2899E45D}" type="presOf" srcId="{42E17C05-21F0-41B4-B54B-D4B800F4CFDE}" destId="{F67CE4BB-3745-47AB-B95A-714BC82C109F}" srcOrd="0" destOrd="0" presId="urn:microsoft.com/office/officeart/2009/3/layout/HorizontalOrganizationChart"/>
    <dgm:cxn modelId="{2E191969-4F9A-464D-A3F4-1C6ABE0A99E2}" type="presOf" srcId="{10B78D76-D250-4F7C-B472-32C37A2A1617}" destId="{394A2B90-B17B-4AD2-A0C6-6D975E1AD9E3}" srcOrd="1" destOrd="0" presId="urn:microsoft.com/office/officeart/2009/3/layout/HorizontalOrganizationChart"/>
    <dgm:cxn modelId="{2EABA069-EC12-4D06-907B-90EA5D7C99D2}" srcId="{DD0D810A-461B-43AB-9074-9E97C0408D20}" destId="{500D8E4F-2815-497E-8509-B9D2A67FB7E0}" srcOrd="1" destOrd="0" parTransId="{EAD223CF-F517-4779-8EB8-8AE1D099BB36}" sibTransId="{43584BFA-CFB5-402E-9085-ECF8ABFDD67E}"/>
    <dgm:cxn modelId="{7A7ACB6B-962C-4C7B-AF20-CABB531EBF24}" type="presOf" srcId="{690DBB26-FEE6-41EB-873D-955148B1E3AE}" destId="{C218DCC8-B3F6-4553-A35E-39FE07DF2DAA}" srcOrd="0" destOrd="0" presId="urn:microsoft.com/office/officeart/2009/3/layout/HorizontalOrganizationChart"/>
    <dgm:cxn modelId="{FA753E70-C6DF-4364-BE72-691891884F09}" type="presOf" srcId="{7B5656C3-7C05-40A5-9696-04E748223089}" destId="{F2D44061-3F54-46D3-B092-124DCE2E8121}" srcOrd="0" destOrd="0" presId="urn:microsoft.com/office/officeart/2009/3/layout/HorizontalOrganizationChart"/>
    <dgm:cxn modelId="{8B225A55-4A3E-40F0-BC9A-AC095AB9D061}" type="presOf" srcId="{CA57C52B-EC7A-4A69-8B57-33E0DA27BF02}" destId="{6F9AD989-1A8E-48F4-A9D8-265BCF14ADCF}" srcOrd="0" destOrd="0" presId="urn:microsoft.com/office/officeart/2009/3/layout/HorizontalOrganizationChart"/>
    <dgm:cxn modelId="{6741EF76-F0D1-490D-8FCE-39A813D5E854}" type="presOf" srcId="{CA57C52B-EC7A-4A69-8B57-33E0DA27BF02}" destId="{4ABDC99F-2B71-444B-B020-3A69400E4FAE}" srcOrd="1" destOrd="0" presId="urn:microsoft.com/office/officeart/2009/3/layout/HorizontalOrganizationChart"/>
    <dgm:cxn modelId="{E58C5E59-6F1D-4E5E-B21E-E3C2F30B2368}" srcId="{500D8E4F-2815-497E-8509-B9D2A67FB7E0}" destId="{10B78D76-D250-4F7C-B472-32C37A2A1617}" srcOrd="2" destOrd="0" parTransId="{B52B1681-B65E-459F-A133-2629AAF065EF}" sibTransId="{5C53EAA2-9024-487C-BF1A-2C3C102C03FE}"/>
    <dgm:cxn modelId="{1EC3D386-350C-4F8A-917F-7120067EEF9A}" type="presOf" srcId="{500D8E4F-2815-497E-8509-B9D2A67FB7E0}" destId="{1BD0D4E9-0148-42E6-ABF9-A9ADB864F0E4}" srcOrd="1" destOrd="0" presId="urn:microsoft.com/office/officeart/2009/3/layout/HorizontalOrganizationChart"/>
    <dgm:cxn modelId="{33989FB5-FA90-4686-B32F-3636785FEE21}" type="presOf" srcId="{DD0D810A-461B-43AB-9074-9E97C0408D20}" destId="{5AF7821A-E4E4-49F2-8CDD-D8E21E18D6E7}" srcOrd="0" destOrd="0" presId="urn:microsoft.com/office/officeart/2009/3/layout/HorizontalOrganizationChart"/>
    <dgm:cxn modelId="{70489AB6-18ED-40F4-B163-42A0274D7EC9}" type="presOf" srcId="{10B78D76-D250-4F7C-B472-32C37A2A1617}" destId="{002154C2-BEA9-4DDA-AD72-66174047192C}" srcOrd="0" destOrd="0" presId="urn:microsoft.com/office/officeart/2009/3/layout/HorizontalOrganizationChart"/>
    <dgm:cxn modelId="{A3225DBE-FBF4-4CA6-9910-43E74A7EDDCD}" srcId="{500D8E4F-2815-497E-8509-B9D2A67FB7E0}" destId="{08EED27D-B691-455A-8D11-8D4400592106}" srcOrd="0" destOrd="0" parTransId="{1BD718C0-8E31-4C02-8936-3DC9E7EB711A}" sibTransId="{7B5F34EC-77F8-4B43-BB2C-33BBF5B01984}"/>
    <dgm:cxn modelId="{5C4EF3ED-A97A-444A-B169-9F79D54F9A0C}" type="presOf" srcId="{7B5656C3-7C05-40A5-9696-04E748223089}" destId="{4641AED7-81EE-4C53-85BC-B06D989B5298}" srcOrd="1" destOrd="0" presId="urn:microsoft.com/office/officeart/2009/3/layout/HorizontalOrganizationChart"/>
    <dgm:cxn modelId="{4EEFE3F0-1597-4E3F-9EEA-79FF3C8F099B}" type="presOf" srcId="{08EED27D-B691-455A-8D11-8D4400592106}" destId="{F7B5F65C-7F4E-4947-B4BA-38FBE2BE4761}" srcOrd="0" destOrd="0" presId="urn:microsoft.com/office/officeart/2009/3/layout/HorizontalOrganizationChart"/>
    <dgm:cxn modelId="{FF369CF4-002E-4AC2-86BD-D9B6417E9591}" type="presOf" srcId="{1BD718C0-8E31-4C02-8936-3DC9E7EB711A}" destId="{B424F5A6-E31E-4538-B20B-89CB9CA6EB53}" srcOrd="0" destOrd="0" presId="urn:microsoft.com/office/officeart/2009/3/layout/HorizontalOrganizationChart"/>
    <dgm:cxn modelId="{29AE3CFC-E771-4884-88AB-0BD1C4A963B8}" type="presOf" srcId="{FD7FAD90-BB4B-4012-8D13-9F856976AA67}" destId="{EBF8284A-7FED-45F6-9524-71BE7355EC57}" srcOrd="1" destOrd="0" presId="urn:microsoft.com/office/officeart/2009/3/layout/HorizontalOrganizationChart"/>
    <dgm:cxn modelId="{7942EEFD-1053-428D-A22D-A2E6A5CEC71F}" srcId="{DD0D810A-461B-43AB-9074-9E97C0408D20}" destId="{FD7FAD90-BB4B-4012-8D13-9F856976AA67}" srcOrd="0" destOrd="0" parTransId="{630DAAD5-A305-4EBB-9899-24FE19ECCAEA}" sibTransId="{EA0BA6A4-443D-48A6-B406-9AD78CBBC07A}"/>
    <dgm:cxn modelId="{886B99FE-F954-4514-921D-F760C48E74D9}" srcId="{FD7FAD90-BB4B-4012-8D13-9F856976AA67}" destId="{7B5656C3-7C05-40A5-9696-04E748223089}" srcOrd="0" destOrd="0" parTransId="{42E17C05-21F0-41B4-B54B-D4B800F4CFDE}" sibTransId="{616C326C-4709-4B48-8294-E5BAFAB16CAC}"/>
    <dgm:cxn modelId="{D31B37A2-D8CE-401C-B2A2-CE4381BF108B}" type="presParOf" srcId="{5AF7821A-E4E4-49F2-8CDD-D8E21E18D6E7}" destId="{1EC5381C-7822-454D-89B8-C196606F0848}" srcOrd="0" destOrd="0" presId="urn:microsoft.com/office/officeart/2009/3/layout/HorizontalOrganizationChart"/>
    <dgm:cxn modelId="{2E69B600-4A80-4FC1-8805-33ED9E8CB234}" type="presParOf" srcId="{1EC5381C-7822-454D-89B8-C196606F0848}" destId="{BE4C360D-0695-4556-A8BB-D8E0AAE0D712}" srcOrd="0" destOrd="0" presId="urn:microsoft.com/office/officeart/2009/3/layout/HorizontalOrganizationChart"/>
    <dgm:cxn modelId="{3D6A38EF-91DF-4632-8E1A-7ECEF0731B52}" type="presParOf" srcId="{BE4C360D-0695-4556-A8BB-D8E0AAE0D712}" destId="{68BD075B-C694-4A97-8ECA-96FB005080EE}" srcOrd="0" destOrd="0" presId="urn:microsoft.com/office/officeart/2009/3/layout/HorizontalOrganizationChart"/>
    <dgm:cxn modelId="{D5B32CF3-1EAC-4021-A5D3-7F3EB5EA080A}" type="presParOf" srcId="{BE4C360D-0695-4556-A8BB-D8E0AAE0D712}" destId="{EBF8284A-7FED-45F6-9524-71BE7355EC57}" srcOrd="1" destOrd="0" presId="urn:microsoft.com/office/officeart/2009/3/layout/HorizontalOrganizationChart"/>
    <dgm:cxn modelId="{C63AC497-E4D2-43C9-B3F7-EF3350C600D1}" type="presParOf" srcId="{1EC5381C-7822-454D-89B8-C196606F0848}" destId="{87C96744-C259-4D12-9095-009A82984DE0}" srcOrd="1" destOrd="0" presId="urn:microsoft.com/office/officeart/2009/3/layout/HorizontalOrganizationChart"/>
    <dgm:cxn modelId="{B970EBD0-5BCF-4B6E-B82E-8F28AF7AC036}" type="presParOf" srcId="{87C96744-C259-4D12-9095-009A82984DE0}" destId="{F67CE4BB-3745-47AB-B95A-714BC82C109F}" srcOrd="0" destOrd="0" presId="urn:microsoft.com/office/officeart/2009/3/layout/HorizontalOrganizationChart"/>
    <dgm:cxn modelId="{037F5D75-AA33-4B3C-A11B-2BEA82B4DD4D}" type="presParOf" srcId="{87C96744-C259-4D12-9095-009A82984DE0}" destId="{4E8A01CF-C0C6-4E7D-912E-93E9B28CB6C6}" srcOrd="1" destOrd="0" presId="urn:microsoft.com/office/officeart/2009/3/layout/HorizontalOrganizationChart"/>
    <dgm:cxn modelId="{2CFCABF3-7974-4889-BB93-0C5947A06542}" type="presParOf" srcId="{4E8A01CF-C0C6-4E7D-912E-93E9B28CB6C6}" destId="{1C9C5E79-8F42-4F62-ACAC-2BF7672A9151}" srcOrd="0" destOrd="0" presId="urn:microsoft.com/office/officeart/2009/3/layout/HorizontalOrganizationChart"/>
    <dgm:cxn modelId="{9A6C6E57-7D82-4C3B-8DE0-5825588FB4FE}" type="presParOf" srcId="{1C9C5E79-8F42-4F62-ACAC-2BF7672A9151}" destId="{F2D44061-3F54-46D3-B092-124DCE2E8121}" srcOrd="0" destOrd="0" presId="urn:microsoft.com/office/officeart/2009/3/layout/HorizontalOrganizationChart"/>
    <dgm:cxn modelId="{EE59D2B0-0188-4DA5-AFBA-09281D435BEC}" type="presParOf" srcId="{1C9C5E79-8F42-4F62-ACAC-2BF7672A9151}" destId="{4641AED7-81EE-4C53-85BC-B06D989B5298}" srcOrd="1" destOrd="0" presId="urn:microsoft.com/office/officeart/2009/3/layout/HorizontalOrganizationChart"/>
    <dgm:cxn modelId="{EAA6377F-1020-44E8-9A54-9C7FAAF6DBC8}" type="presParOf" srcId="{4E8A01CF-C0C6-4E7D-912E-93E9B28CB6C6}" destId="{64F6B278-DE5B-4C60-8010-3BC18042AE4A}" srcOrd="1" destOrd="0" presId="urn:microsoft.com/office/officeart/2009/3/layout/HorizontalOrganizationChart"/>
    <dgm:cxn modelId="{25353AD4-2F9E-40E9-8CBB-3E38DD7508F5}" type="presParOf" srcId="{4E8A01CF-C0C6-4E7D-912E-93E9B28CB6C6}" destId="{93D1D8A8-58B4-4DD7-97B2-8F65889E7488}" srcOrd="2" destOrd="0" presId="urn:microsoft.com/office/officeart/2009/3/layout/HorizontalOrganizationChart"/>
    <dgm:cxn modelId="{FDD1ACB5-C8DB-4408-8678-769F93AF7F06}" type="presParOf" srcId="{1EC5381C-7822-454D-89B8-C196606F0848}" destId="{C164E9D4-E4CB-4563-AFBC-C1531A74DD65}" srcOrd="2" destOrd="0" presId="urn:microsoft.com/office/officeart/2009/3/layout/HorizontalOrganizationChart"/>
    <dgm:cxn modelId="{1964641F-7751-491D-BE06-87EAE77DC66D}" type="presParOf" srcId="{5AF7821A-E4E4-49F2-8CDD-D8E21E18D6E7}" destId="{37F4E887-9AB5-4A1B-8AB7-17A4FB4763A2}" srcOrd="1" destOrd="0" presId="urn:microsoft.com/office/officeart/2009/3/layout/HorizontalOrganizationChart"/>
    <dgm:cxn modelId="{0CBF46F7-613F-49DB-8317-6EFB9D5D5DED}" type="presParOf" srcId="{37F4E887-9AB5-4A1B-8AB7-17A4FB4763A2}" destId="{1EB84C42-2042-405B-ABF4-B84C590152FD}" srcOrd="0" destOrd="0" presId="urn:microsoft.com/office/officeart/2009/3/layout/HorizontalOrganizationChart"/>
    <dgm:cxn modelId="{9B41716A-B029-457F-8B6A-C2407CEE2257}" type="presParOf" srcId="{1EB84C42-2042-405B-ABF4-B84C590152FD}" destId="{7C97E42F-1B16-46A9-9A74-EEA8016BCEF7}" srcOrd="0" destOrd="0" presId="urn:microsoft.com/office/officeart/2009/3/layout/HorizontalOrganizationChart"/>
    <dgm:cxn modelId="{4695B2EB-AA18-4D50-944D-173F7721C9AE}" type="presParOf" srcId="{1EB84C42-2042-405B-ABF4-B84C590152FD}" destId="{1BD0D4E9-0148-42E6-ABF9-A9ADB864F0E4}" srcOrd="1" destOrd="0" presId="urn:microsoft.com/office/officeart/2009/3/layout/HorizontalOrganizationChart"/>
    <dgm:cxn modelId="{A8D472C0-BA72-4B35-8FDB-41BDF788E491}" type="presParOf" srcId="{37F4E887-9AB5-4A1B-8AB7-17A4FB4763A2}" destId="{E94F53F7-97C9-4733-BF76-7FA0EC78946E}" srcOrd="1" destOrd="0" presId="urn:microsoft.com/office/officeart/2009/3/layout/HorizontalOrganizationChart"/>
    <dgm:cxn modelId="{186F73DE-98EC-463C-B45A-EFFBD91F6134}" type="presParOf" srcId="{E94F53F7-97C9-4733-BF76-7FA0EC78946E}" destId="{B424F5A6-E31E-4538-B20B-89CB9CA6EB53}" srcOrd="0" destOrd="0" presId="urn:microsoft.com/office/officeart/2009/3/layout/HorizontalOrganizationChart"/>
    <dgm:cxn modelId="{36DC52F5-D08D-4C8C-BA88-3FC5E77C1206}" type="presParOf" srcId="{E94F53F7-97C9-4733-BF76-7FA0EC78946E}" destId="{3A8DF9DB-2E77-4DAB-BC0B-B92EB1FF8BC5}" srcOrd="1" destOrd="0" presId="urn:microsoft.com/office/officeart/2009/3/layout/HorizontalOrganizationChart"/>
    <dgm:cxn modelId="{F903C3FD-CA71-4279-A451-892F6A21DE8B}" type="presParOf" srcId="{3A8DF9DB-2E77-4DAB-BC0B-B92EB1FF8BC5}" destId="{4C41DFD4-F6DF-4612-830C-2F909B3A1F5B}" srcOrd="0" destOrd="0" presId="urn:microsoft.com/office/officeart/2009/3/layout/HorizontalOrganizationChart"/>
    <dgm:cxn modelId="{F1CFD584-BD4D-417A-B6A5-952729441251}" type="presParOf" srcId="{4C41DFD4-F6DF-4612-830C-2F909B3A1F5B}" destId="{F7B5F65C-7F4E-4947-B4BA-38FBE2BE4761}" srcOrd="0" destOrd="0" presId="urn:microsoft.com/office/officeart/2009/3/layout/HorizontalOrganizationChart"/>
    <dgm:cxn modelId="{2215D211-496D-4988-A4FE-7E31891F4B9B}" type="presParOf" srcId="{4C41DFD4-F6DF-4612-830C-2F909B3A1F5B}" destId="{732C192C-E27C-40C8-8819-4090783C1701}" srcOrd="1" destOrd="0" presId="urn:microsoft.com/office/officeart/2009/3/layout/HorizontalOrganizationChart"/>
    <dgm:cxn modelId="{EA958E0C-D8FB-4BD5-917E-EC42E0C0D972}" type="presParOf" srcId="{3A8DF9DB-2E77-4DAB-BC0B-B92EB1FF8BC5}" destId="{948BF28F-AF9F-45A9-BA48-BBDF682A2667}" srcOrd="1" destOrd="0" presId="urn:microsoft.com/office/officeart/2009/3/layout/HorizontalOrganizationChart"/>
    <dgm:cxn modelId="{B27B9CB1-5CF6-4E9C-9E94-6C2BE7205E30}" type="presParOf" srcId="{3A8DF9DB-2E77-4DAB-BC0B-B92EB1FF8BC5}" destId="{C9D9FA34-D2C9-4FCE-A862-266806C57C43}" srcOrd="2" destOrd="0" presId="urn:microsoft.com/office/officeart/2009/3/layout/HorizontalOrganizationChart"/>
    <dgm:cxn modelId="{577E262E-0464-473C-AD2B-2252C7F6FE2A}" type="presParOf" srcId="{E94F53F7-97C9-4733-BF76-7FA0EC78946E}" destId="{C218DCC8-B3F6-4553-A35E-39FE07DF2DAA}" srcOrd="2" destOrd="0" presId="urn:microsoft.com/office/officeart/2009/3/layout/HorizontalOrganizationChart"/>
    <dgm:cxn modelId="{4C07DDA2-0546-4BE6-9C7F-D51CE232D1EB}" type="presParOf" srcId="{E94F53F7-97C9-4733-BF76-7FA0EC78946E}" destId="{64E68080-E4D4-4E3E-8A4C-A815520E1217}" srcOrd="3" destOrd="0" presId="urn:microsoft.com/office/officeart/2009/3/layout/HorizontalOrganizationChart"/>
    <dgm:cxn modelId="{F4BB8BC0-D593-49E6-8707-BA04E776A66B}" type="presParOf" srcId="{64E68080-E4D4-4E3E-8A4C-A815520E1217}" destId="{936D5079-94D8-4C46-913B-ACC217C85D76}" srcOrd="0" destOrd="0" presId="urn:microsoft.com/office/officeart/2009/3/layout/HorizontalOrganizationChart"/>
    <dgm:cxn modelId="{A52CB457-E8E2-4F8B-B54D-62468A1EED2E}" type="presParOf" srcId="{936D5079-94D8-4C46-913B-ACC217C85D76}" destId="{6F9AD989-1A8E-48F4-A9D8-265BCF14ADCF}" srcOrd="0" destOrd="0" presId="urn:microsoft.com/office/officeart/2009/3/layout/HorizontalOrganizationChart"/>
    <dgm:cxn modelId="{D342663E-A6F5-4F39-8513-333E6980BC73}" type="presParOf" srcId="{936D5079-94D8-4C46-913B-ACC217C85D76}" destId="{4ABDC99F-2B71-444B-B020-3A69400E4FAE}" srcOrd="1" destOrd="0" presId="urn:microsoft.com/office/officeart/2009/3/layout/HorizontalOrganizationChart"/>
    <dgm:cxn modelId="{1F8A4A10-7377-4664-9823-BB17F09E3324}" type="presParOf" srcId="{64E68080-E4D4-4E3E-8A4C-A815520E1217}" destId="{3F0EF323-EDF4-4BBB-B4A8-E255A967C689}" srcOrd="1" destOrd="0" presId="urn:microsoft.com/office/officeart/2009/3/layout/HorizontalOrganizationChart"/>
    <dgm:cxn modelId="{5E9B42E8-5510-416D-BD15-640B43D75C5C}" type="presParOf" srcId="{64E68080-E4D4-4E3E-8A4C-A815520E1217}" destId="{10362FC5-008A-4E2E-AB8A-68CE40AD8B9A}" srcOrd="2" destOrd="0" presId="urn:microsoft.com/office/officeart/2009/3/layout/HorizontalOrganizationChart"/>
    <dgm:cxn modelId="{B8D7EA7B-8D43-4A77-9753-90F0CC036177}" type="presParOf" srcId="{E94F53F7-97C9-4733-BF76-7FA0EC78946E}" destId="{08CAC166-090C-4FA3-B7F3-8FC6CBBB9D84}" srcOrd="4" destOrd="0" presId="urn:microsoft.com/office/officeart/2009/3/layout/HorizontalOrganizationChart"/>
    <dgm:cxn modelId="{6554982A-889D-43AA-A409-19D2FFB5C525}" type="presParOf" srcId="{E94F53F7-97C9-4733-BF76-7FA0EC78946E}" destId="{B85753B9-FDE1-4363-920F-2791AEC58F87}" srcOrd="5" destOrd="0" presId="urn:microsoft.com/office/officeart/2009/3/layout/HorizontalOrganizationChart"/>
    <dgm:cxn modelId="{C4EDEB17-A7E4-4EC1-9DE7-69D6CD30FDE5}" type="presParOf" srcId="{B85753B9-FDE1-4363-920F-2791AEC58F87}" destId="{2A27CAAD-DB09-4C56-BDEF-9ABBC2D13BB2}" srcOrd="0" destOrd="0" presId="urn:microsoft.com/office/officeart/2009/3/layout/HorizontalOrganizationChart"/>
    <dgm:cxn modelId="{D31C172F-B8D4-4E9A-B918-2D212C1798D7}" type="presParOf" srcId="{2A27CAAD-DB09-4C56-BDEF-9ABBC2D13BB2}" destId="{002154C2-BEA9-4DDA-AD72-66174047192C}" srcOrd="0" destOrd="0" presId="urn:microsoft.com/office/officeart/2009/3/layout/HorizontalOrganizationChart"/>
    <dgm:cxn modelId="{4B63A61D-5525-4C07-897B-90514F63DCF7}" type="presParOf" srcId="{2A27CAAD-DB09-4C56-BDEF-9ABBC2D13BB2}" destId="{394A2B90-B17B-4AD2-A0C6-6D975E1AD9E3}" srcOrd="1" destOrd="0" presId="urn:microsoft.com/office/officeart/2009/3/layout/HorizontalOrganizationChart"/>
    <dgm:cxn modelId="{7C25813A-50E1-428A-A1CC-D81D1798E27D}" type="presParOf" srcId="{B85753B9-FDE1-4363-920F-2791AEC58F87}" destId="{EC228207-2B0F-4224-BEB5-7FE03E358FF9}" srcOrd="1" destOrd="0" presId="urn:microsoft.com/office/officeart/2009/3/layout/HorizontalOrganizationChart"/>
    <dgm:cxn modelId="{F7ACB736-8203-4F56-BE57-75A9E7845731}" type="presParOf" srcId="{B85753B9-FDE1-4363-920F-2791AEC58F87}" destId="{2BD6A6CF-ED37-4B22-B6C7-E0B52E5A6967}" srcOrd="2" destOrd="0" presId="urn:microsoft.com/office/officeart/2009/3/layout/HorizontalOrganizationChart"/>
    <dgm:cxn modelId="{B944BF39-620D-4B4C-8860-DAA8BE5D5067}" type="presParOf" srcId="{37F4E887-9AB5-4A1B-8AB7-17A4FB4763A2}" destId="{471D85D6-706C-4286-9953-9A06F09429A9}" srcOrd="2" destOrd="0" presId="urn:microsoft.com/office/officeart/2009/3/layout/HorizontalOrganizationChar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D0D810A-461B-43AB-9074-9E97C0408D20}" type="doc">
      <dgm:prSet loTypeId="urn:microsoft.com/office/officeart/2009/3/layout/HorizontalOrganizationChart" loCatId="hierarchy" qsTypeId="urn:microsoft.com/office/officeart/2005/8/quickstyle/simple1" qsCatId="simple" csTypeId="urn:microsoft.com/office/officeart/2005/8/colors/accent2_2" csCatId="accent2" phldr="1"/>
      <dgm:spPr/>
      <dgm:t>
        <a:bodyPr/>
        <a:lstStyle/>
        <a:p>
          <a:endParaRPr lang="en-US"/>
        </a:p>
      </dgm:t>
    </dgm:pt>
    <dgm:pt modelId="{08EED27D-B691-455A-8D11-8D4400592106}">
      <dgm:prSet phldrT="[Text]" custT="1"/>
      <dgm:spPr>
        <a:solidFill>
          <a:schemeClr val="bg2"/>
        </a:solidFill>
        <a:ln>
          <a:noFill/>
        </a:ln>
      </dgm:spPr>
      <dgm:t>
        <a:bodyPr/>
        <a:lstStyle/>
        <a:p>
          <a:r>
            <a:rPr lang="en-US" sz="1000" b="1" dirty="0"/>
            <a:t>1115 waiver</a:t>
          </a:r>
        </a:p>
      </dgm:t>
    </dgm:pt>
    <dgm:pt modelId="{1BD718C0-8E31-4C02-8936-3DC9E7EB711A}" type="parTrans" cxnId="{A3225DBE-FBF4-4CA6-9910-43E74A7EDDCD}">
      <dgm:prSet/>
      <dgm:spPr/>
      <dgm:t>
        <a:bodyPr/>
        <a:lstStyle/>
        <a:p>
          <a:endParaRPr lang="en-US" sz="1000" b="1"/>
        </a:p>
      </dgm:t>
    </dgm:pt>
    <dgm:pt modelId="{7B5F34EC-77F8-4B43-BB2C-33BBF5B01984}" type="sibTrans" cxnId="{A3225DBE-FBF4-4CA6-9910-43E74A7EDDCD}">
      <dgm:prSet/>
      <dgm:spPr/>
      <dgm:t>
        <a:bodyPr/>
        <a:lstStyle/>
        <a:p>
          <a:endParaRPr lang="en-US" sz="1000" b="1"/>
        </a:p>
      </dgm:t>
    </dgm:pt>
    <dgm:pt modelId="{A0160691-C5F9-44B8-9B17-16C16C30252D}">
      <dgm:prSet phldrT="[Text]" custT="1"/>
      <dgm:spPr>
        <a:solidFill>
          <a:schemeClr val="bg2"/>
        </a:solidFill>
        <a:ln>
          <a:noFill/>
        </a:ln>
      </dgm:spPr>
      <dgm:t>
        <a:bodyPr/>
        <a:lstStyle/>
        <a:p>
          <a:r>
            <a:rPr lang="en-US" sz="1000" b="1" dirty="0"/>
            <a:t>SPA</a:t>
          </a:r>
        </a:p>
      </dgm:t>
    </dgm:pt>
    <dgm:pt modelId="{7C1C211D-DF08-4FA2-A593-3F78C8D74D1E}" type="parTrans" cxnId="{D66B2423-EA40-4AD3-8D39-8A788F41731C}">
      <dgm:prSet/>
      <dgm:spPr/>
      <dgm:t>
        <a:bodyPr/>
        <a:lstStyle/>
        <a:p>
          <a:endParaRPr lang="en-US" sz="1000" b="1"/>
        </a:p>
      </dgm:t>
    </dgm:pt>
    <dgm:pt modelId="{7CA754DD-BCA3-484D-948A-4898820E12A5}" type="sibTrans" cxnId="{D66B2423-EA40-4AD3-8D39-8A788F41731C}">
      <dgm:prSet/>
      <dgm:spPr/>
      <dgm:t>
        <a:bodyPr/>
        <a:lstStyle/>
        <a:p>
          <a:endParaRPr lang="en-US" sz="1000" b="1"/>
        </a:p>
      </dgm:t>
    </dgm:pt>
    <dgm:pt modelId="{25689892-4E7D-40AA-A673-4C1F0CF0FA5A}">
      <dgm:prSet phldrT="[Text]" custT="1"/>
      <dgm:spPr>
        <a:noFill/>
        <a:ln>
          <a:noFill/>
        </a:ln>
      </dgm:spPr>
      <dgm:t>
        <a:bodyPr/>
        <a:lstStyle/>
        <a:p>
          <a:r>
            <a:rPr lang="en-US" sz="1000" b="1" dirty="0">
              <a:solidFill>
                <a:schemeClr val="tx1"/>
              </a:solidFill>
            </a:rPr>
            <a:t>Denied</a:t>
          </a:r>
        </a:p>
      </dgm:t>
    </dgm:pt>
    <dgm:pt modelId="{F777E9C7-1812-46A8-9B44-36F638B989E3}" type="parTrans" cxnId="{F0341BD8-469F-4A6C-83F6-86DEA6671799}">
      <dgm:prSet/>
      <dgm:spPr>
        <a:ln>
          <a:solidFill>
            <a:srgbClr val="FF0000"/>
          </a:solidFill>
          <a:prstDash val="lgDash"/>
          <a:headEnd type="none" w="med" len="med"/>
          <a:tailEnd type="triangle" w="med" len="med"/>
        </a:ln>
      </dgm:spPr>
      <dgm:t>
        <a:bodyPr/>
        <a:lstStyle/>
        <a:p>
          <a:endParaRPr lang="en-US" sz="1000" b="1"/>
        </a:p>
      </dgm:t>
    </dgm:pt>
    <dgm:pt modelId="{32D3F911-C848-4633-AE9B-C684A3E2D4A0}" type="sibTrans" cxnId="{F0341BD8-469F-4A6C-83F6-86DEA6671799}">
      <dgm:prSet/>
      <dgm:spPr/>
      <dgm:t>
        <a:bodyPr/>
        <a:lstStyle/>
        <a:p>
          <a:endParaRPr lang="en-US" sz="1000" b="1"/>
        </a:p>
      </dgm:t>
    </dgm:pt>
    <dgm:pt modelId="{181337CE-57D4-4E7A-A05B-60A37E2377AA}">
      <dgm:prSet phldrT="[Text]" custT="1"/>
      <dgm:spPr>
        <a:noFill/>
        <a:ln>
          <a:noFill/>
        </a:ln>
      </dgm:spPr>
      <dgm:t>
        <a:bodyPr/>
        <a:lstStyle/>
        <a:p>
          <a:r>
            <a:rPr lang="en-US" sz="1000" b="1" dirty="0">
              <a:solidFill>
                <a:schemeClr val="tx1"/>
              </a:solidFill>
            </a:rPr>
            <a:t>Approved </a:t>
          </a:r>
        </a:p>
        <a:p>
          <a:r>
            <a:rPr lang="en-US" sz="1000" b="1" dirty="0">
              <a:solidFill>
                <a:schemeClr val="tx1"/>
              </a:solidFill>
            </a:rPr>
            <a:t>(</a:t>
          </a:r>
          <a:r>
            <a:rPr lang="en-US" sz="1000" b="1" u="sng" dirty="0">
              <a:solidFill>
                <a:schemeClr val="tx1"/>
              </a:solidFill>
            </a:rPr>
            <a:t>&lt;</a:t>
          </a:r>
          <a:r>
            <a:rPr lang="en-US" sz="1000" b="1" u="none" dirty="0">
              <a:solidFill>
                <a:schemeClr val="tx1"/>
              </a:solidFill>
            </a:rPr>
            <a:t>90</a:t>
          </a:r>
          <a:r>
            <a:rPr lang="en-US" sz="1000" b="1" dirty="0">
              <a:solidFill>
                <a:schemeClr val="tx1"/>
              </a:solidFill>
            </a:rPr>
            <a:t> days)</a:t>
          </a:r>
          <a:endParaRPr lang="en-US" sz="1000" b="1" baseline="30000" dirty="0">
            <a:solidFill>
              <a:schemeClr val="tx1"/>
            </a:solidFill>
          </a:endParaRPr>
        </a:p>
      </dgm:t>
    </dgm:pt>
    <dgm:pt modelId="{3935ABD3-BCEB-4366-8068-AF4AC2EC6F86}" type="parTrans" cxnId="{34485087-B5E1-4C7C-A12D-6E4193B5890D}">
      <dgm:prSet/>
      <dgm:spPr>
        <a:ln>
          <a:solidFill>
            <a:schemeClr val="bg2"/>
          </a:solidFill>
          <a:headEnd type="none" w="med" len="med"/>
          <a:tailEnd type="triangle" w="med" len="med"/>
        </a:ln>
      </dgm:spPr>
      <dgm:t>
        <a:bodyPr/>
        <a:lstStyle/>
        <a:p>
          <a:endParaRPr lang="en-US" sz="1000" b="1"/>
        </a:p>
      </dgm:t>
    </dgm:pt>
    <dgm:pt modelId="{DD97806B-124E-472F-8B3E-E5D1562EC24B}" type="sibTrans" cxnId="{34485087-B5E1-4C7C-A12D-6E4193B5890D}">
      <dgm:prSet/>
      <dgm:spPr/>
      <dgm:t>
        <a:bodyPr/>
        <a:lstStyle/>
        <a:p>
          <a:endParaRPr lang="en-US" sz="1000" b="1"/>
        </a:p>
      </dgm:t>
    </dgm:pt>
    <dgm:pt modelId="{85023C2C-452D-4AC9-A6FA-0F9D7138C59C}">
      <dgm:prSet phldrT="[Text]" custT="1"/>
      <dgm:spPr>
        <a:solidFill>
          <a:schemeClr val="bg2"/>
        </a:solidFill>
        <a:ln>
          <a:noFill/>
        </a:ln>
      </dgm:spPr>
      <dgm:t>
        <a:bodyPr/>
        <a:lstStyle/>
        <a:p>
          <a:r>
            <a:rPr lang="en-US" sz="1000" b="1" dirty="0"/>
            <a:t>SPA</a:t>
          </a:r>
        </a:p>
      </dgm:t>
    </dgm:pt>
    <dgm:pt modelId="{4DC8FC01-4200-4F98-B421-C3BD31407BFE}" type="sibTrans" cxnId="{08C03AC3-FB42-491A-8AC3-DAA93AE19A3F}">
      <dgm:prSet/>
      <dgm:spPr/>
      <dgm:t>
        <a:bodyPr/>
        <a:lstStyle/>
        <a:p>
          <a:endParaRPr lang="en-US" sz="1000" b="1"/>
        </a:p>
      </dgm:t>
    </dgm:pt>
    <dgm:pt modelId="{33B9A337-283C-49FE-8E6D-A95BFD1E8030}" type="parTrans" cxnId="{08C03AC3-FB42-491A-8AC3-DAA93AE19A3F}">
      <dgm:prSet/>
      <dgm:spPr/>
      <dgm:t>
        <a:bodyPr/>
        <a:lstStyle/>
        <a:p>
          <a:endParaRPr lang="en-US" sz="1000" b="1"/>
        </a:p>
      </dgm:t>
    </dgm:pt>
    <dgm:pt modelId="{374E3B40-BBBE-480A-AFB4-88D490633E79}">
      <dgm:prSet phldrT="[Text]" custT="1"/>
      <dgm:spPr>
        <a:solidFill>
          <a:schemeClr val="bg2"/>
        </a:solidFill>
        <a:ln>
          <a:noFill/>
        </a:ln>
      </dgm:spPr>
      <dgm:t>
        <a:bodyPr/>
        <a:lstStyle/>
        <a:p>
          <a:r>
            <a:rPr lang="en-US" sz="1000" b="1" dirty="0"/>
            <a:t>1115 waiver</a:t>
          </a:r>
        </a:p>
      </dgm:t>
    </dgm:pt>
    <dgm:pt modelId="{3C2134FB-03F5-408F-A3E8-366E7D03A159}" type="sibTrans" cxnId="{D35A7518-0072-4221-9867-FBFE00A0D2B6}">
      <dgm:prSet/>
      <dgm:spPr/>
      <dgm:t>
        <a:bodyPr/>
        <a:lstStyle/>
        <a:p>
          <a:endParaRPr lang="en-US" sz="1000" b="1"/>
        </a:p>
      </dgm:t>
    </dgm:pt>
    <dgm:pt modelId="{7CD24F9D-E1BB-408F-AAA9-2DE54AABDB4B}" type="parTrans" cxnId="{D35A7518-0072-4221-9867-FBFE00A0D2B6}">
      <dgm:prSet/>
      <dgm:spPr/>
      <dgm:t>
        <a:bodyPr/>
        <a:lstStyle/>
        <a:p>
          <a:endParaRPr lang="en-US" sz="1000" b="1"/>
        </a:p>
      </dgm:t>
    </dgm:pt>
    <dgm:pt modelId="{EF3D876D-3EE3-4D07-AAFA-45A65E67153D}">
      <dgm:prSet phldrT="[Text]" custT="1"/>
      <dgm:spPr>
        <a:noFill/>
        <a:ln>
          <a:noFill/>
        </a:ln>
      </dgm:spPr>
      <dgm:t>
        <a:bodyPr/>
        <a:lstStyle/>
        <a:p>
          <a:r>
            <a:rPr lang="en-US" sz="1000" b="1" dirty="0">
              <a:solidFill>
                <a:schemeClr val="tx1"/>
              </a:solidFill>
            </a:rPr>
            <a:t>Approved</a:t>
          </a:r>
        </a:p>
      </dgm:t>
    </dgm:pt>
    <dgm:pt modelId="{6E609385-C993-4BC2-9C17-F960FE135F9E}" type="parTrans" cxnId="{37262148-BB0F-4AAE-93EB-D71C43F7ABA1}">
      <dgm:prSet/>
      <dgm:spPr>
        <a:ln>
          <a:solidFill>
            <a:srgbClr val="FF0000"/>
          </a:solidFill>
          <a:prstDash val="lgDash"/>
          <a:headEnd type="none" w="med" len="med"/>
          <a:tailEnd type="triangle" w="med" len="med"/>
        </a:ln>
      </dgm:spPr>
      <dgm:t>
        <a:bodyPr/>
        <a:lstStyle/>
        <a:p>
          <a:endParaRPr lang="en-US" sz="1000" b="1">
            <a:ln>
              <a:solidFill>
                <a:srgbClr val="FF0000"/>
              </a:solidFill>
            </a:ln>
          </a:endParaRPr>
        </a:p>
      </dgm:t>
    </dgm:pt>
    <dgm:pt modelId="{4FECF614-695B-4D39-A080-4F84C9ACE92B}" type="sibTrans" cxnId="{37262148-BB0F-4AAE-93EB-D71C43F7ABA1}">
      <dgm:prSet/>
      <dgm:spPr/>
      <dgm:t>
        <a:bodyPr/>
        <a:lstStyle/>
        <a:p>
          <a:endParaRPr lang="en-US" sz="1000" b="1"/>
        </a:p>
      </dgm:t>
    </dgm:pt>
    <dgm:pt modelId="{5CC210C8-5E6E-48F0-8FD0-6A866839FB6B}">
      <dgm:prSet phldrT="[Text]" custT="1"/>
      <dgm:spPr>
        <a:solidFill>
          <a:srgbClr val="00B050"/>
        </a:solidFill>
        <a:ln>
          <a:noFill/>
        </a:ln>
      </dgm:spPr>
      <dgm:t>
        <a:bodyPr/>
        <a:lstStyle/>
        <a:p>
          <a:r>
            <a:rPr lang="en-US" sz="1100" b="1" dirty="0"/>
            <a:t>Expansion effective once waiver approved, if on or after 01/01/2020</a:t>
          </a:r>
          <a:endParaRPr lang="en-US" sz="1100" b="1" dirty="0">
            <a:solidFill>
              <a:schemeClr val="bg1"/>
            </a:solidFill>
          </a:endParaRPr>
        </a:p>
      </dgm:t>
    </dgm:pt>
    <dgm:pt modelId="{A20406A2-2D7C-4A2D-8277-F2D7CFFC3989}" type="parTrans" cxnId="{6D197EFA-E970-4CA7-BFDB-12014368DE9A}">
      <dgm:prSet/>
      <dgm:spPr>
        <a:ln>
          <a:noFill/>
        </a:ln>
      </dgm:spPr>
      <dgm:t>
        <a:bodyPr/>
        <a:lstStyle/>
        <a:p>
          <a:endParaRPr lang="en-US" sz="1000" b="1"/>
        </a:p>
      </dgm:t>
    </dgm:pt>
    <dgm:pt modelId="{C531265A-64F9-4D92-A7AB-716575731EBF}" type="sibTrans" cxnId="{6D197EFA-E970-4CA7-BFDB-12014368DE9A}">
      <dgm:prSet/>
      <dgm:spPr/>
      <dgm:t>
        <a:bodyPr/>
        <a:lstStyle/>
        <a:p>
          <a:endParaRPr lang="en-US" sz="1000" b="1"/>
        </a:p>
      </dgm:t>
    </dgm:pt>
    <dgm:pt modelId="{4E5FFA0C-6510-4201-A7B1-ABD5AEF2D97A}">
      <dgm:prSet phldrT="[Text]" custT="1"/>
      <dgm:spPr>
        <a:noFill/>
        <a:ln>
          <a:noFill/>
        </a:ln>
      </dgm:spPr>
      <dgm:t>
        <a:bodyPr/>
        <a:lstStyle/>
        <a:p>
          <a:r>
            <a:rPr lang="en-US" sz="1000" b="1" dirty="0">
              <a:solidFill>
                <a:schemeClr val="tx1"/>
              </a:solidFill>
            </a:rPr>
            <a:t>Approved </a:t>
          </a:r>
        </a:p>
        <a:p>
          <a:r>
            <a:rPr lang="en-US" sz="1000" b="1" u="none" dirty="0">
              <a:solidFill>
                <a:schemeClr val="tx1"/>
              </a:solidFill>
            </a:rPr>
            <a:t>(</a:t>
          </a:r>
          <a:r>
            <a:rPr lang="en-US" sz="1000" b="1" u="sng" dirty="0">
              <a:solidFill>
                <a:schemeClr val="tx1"/>
              </a:solidFill>
            </a:rPr>
            <a:t>&lt;</a:t>
          </a:r>
          <a:r>
            <a:rPr lang="en-US" sz="1000" b="1" u="none" dirty="0">
              <a:solidFill>
                <a:schemeClr val="tx1"/>
              </a:solidFill>
            </a:rPr>
            <a:t>90</a:t>
          </a:r>
          <a:r>
            <a:rPr lang="en-US" sz="1000" b="1" dirty="0">
              <a:solidFill>
                <a:schemeClr val="tx1"/>
              </a:solidFill>
            </a:rPr>
            <a:t> days)</a:t>
          </a:r>
        </a:p>
      </dgm:t>
    </dgm:pt>
    <dgm:pt modelId="{BC42BC40-0016-4436-879E-4DDC17E681D8}" type="parTrans" cxnId="{34310F64-4E48-4308-BE51-BFDDCE09909A}">
      <dgm:prSet/>
      <dgm:spPr>
        <a:ln>
          <a:solidFill>
            <a:schemeClr val="bg2"/>
          </a:solidFill>
          <a:headEnd type="none" w="med" len="med"/>
          <a:tailEnd type="triangle" w="med" len="med"/>
        </a:ln>
      </dgm:spPr>
      <dgm:t>
        <a:bodyPr/>
        <a:lstStyle/>
        <a:p>
          <a:endParaRPr lang="en-US" sz="1000" b="1"/>
        </a:p>
      </dgm:t>
    </dgm:pt>
    <dgm:pt modelId="{012D8BD1-3B16-42B8-AD19-91B1BF069CC4}" type="sibTrans" cxnId="{34310F64-4E48-4308-BE51-BFDDCE09909A}">
      <dgm:prSet/>
      <dgm:spPr/>
      <dgm:t>
        <a:bodyPr/>
        <a:lstStyle/>
        <a:p>
          <a:endParaRPr lang="en-US" sz="1000" b="1"/>
        </a:p>
      </dgm:t>
    </dgm:pt>
    <dgm:pt modelId="{6C071D51-77B8-4EFD-9FB6-FCEF2ADC1246}">
      <dgm:prSet phldrT="[Text]" custT="1"/>
      <dgm:spPr>
        <a:solidFill>
          <a:schemeClr val="bg2"/>
        </a:solidFill>
        <a:ln>
          <a:noFill/>
        </a:ln>
      </dgm:spPr>
      <dgm:t>
        <a:bodyPr/>
        <a:lstStyle/>
        <a:p>
          <a:r>
            <a:rPr lang="en-US" sz="1000" b="1" dirty="0"/>
            <a:t>1115 waiver</a:t>
          </a:r>
        </a:p>
      </dgm:t>
    </dgm:pt>
    <dgm:pt modelId="{67CD13A7-670A-494B-802B-0388262AD6E5}" type="parTrans" cxnId="{06AA19BF-279A-4678-8A18-94CF30CBAC6D}">
      <dgm:prSet/>
      <dgm:spPr/>
      <dgm:t>
        <a:bodyPr/>
        <a:lstStyle/>
        <a:p>
          <a:endParaRPr lang="en-US" sz="1000" b="1"/>
        </a:p>
      </dgm:t>
    </dgm:pt>
    <dgm:pt modelId="{8C6DB17C-256F-4FB2-AE9B-B54A9AB67051}" type="sibTrans" cxnId="{06AA19BF-279A-4678-8A18-94CF30CBAC6D}">
      <dgm:prSet/>
      <dgm:spPr/>
      <dgm:t>
        <a:bodyPr/>
        <a:lstStyle/>
        <a:p>
          <a:endParaRPr lang="en-US" sz="1000" b="1"/>
        </a:p>
      </dgm:t>
    </dgm:pt>
    <dgm:pt modelId="{FD1DBDAA-A001-4591-8DE7-1CF832D5998F}">
      <dgm:prSet phldrT="[Text]" custT="1"/>
      <dgm:spPr>
        <a:solidFill>
          <a:schemeClr val="bg2"/>
        </a:solidFill>
        <a:ln>
          <a:noFill/>
        </a:ln>
      </dgm:spPr>
      <dgm:t>
        <a:bodyPr/>
        <a:lstStyle/>
        <a:p>
          <a:r>
            <a:rPr lang="en-US" sz="1000" b="1" dirty="0"/>
            <a:t>SPA</a:t>
          </a:r>
        </a:p>
      </dgm:t>
    </dgm:pt>
    <dgm:pt modelId="{455A81A8-DB9B-495F-A246-9BBAD335F952}" type="parTrans" cxnId="{D3A2E22A-915E-439D-9DBE-B4D6BF15E285}">
      <dgm:prSet/>
      <dgm:spPr/>
      <dgm:t>
        <a:bodyPr/>
        <a:lstStyle/>
        <a:p>
          <a:endParaRPr lang="en-US" sz="1000" b="1"/>
        </a:p>
      </dgm:t>
    </dgm:pt>
    <dgm:pt modelId="{B88F5D7E-1B87-474F-BD16-1E52448760E8}" type="sibTrans" cxnId="{D3A2E22A-915E-439D-9DBE-B4D6BF15E285}">
      <dgm:prSet/>
      <dgm:spPr/>
      <dgm:t>
        <a:bodyPr/>
        <a:lstStyle/>
        <a:p>
          <a:endParaRPr lang="en-US" sz="1000" b="1"/>
        </a:p>
      </dgm:t>
    </dgm:pt>
    <dgm:pt modelId="{D54A7B4A-DF66-40C0-906F-D4D32F04FB90}">
      <dgm:prSet phldrT="[Text]" custT="1"/>
      <dgm:spPr>
        <a:noFill/>
        <a:ln>
          <a:noFill/>
        </a:ln>
      </dgm:spPr>
      <dgm:t>
        <a:bodyPr/>
        <a:lstStyle/>
        <a:p>
          <a:r>
            <a:rPr lang="en-US" sz="1000" b="1" dirty="0">
              <a:solidFill>
                <a:schemeClr val="tx1"/>
              </a:solidFill>
            </a:rPr>
            <a:t>Approved </a:t>
          </a:r>
        </a:p>
        <a:p>
          <a:r>
            <a:rPr lang="en-US" sz="1000" b="1" u="none" dirty="0">
              <a:solidFill>
                <a:schemeClr val="tx1"/>
              </a:solidFill>
            </a:rPr>
            <a:t>(</a:t>
          </a:r>
          <a:r>
            <a:rPr lang="en-US" sz="1000" b="1" u="sng" dirty="0">
              <a:solidFill>
                <a:schemeClr val="tx1"/>
              </a:solidFill>
            </a:rPr>
            <a:t>&lt;</a:t>
          </a:r>
          <a:r>
            <a:rPr lang="en-US" sz="1000" b="1" u="none" dirty="0">
              <a:solidFill>
                <a:schemeClr val="tx1"/>
              </a:solidFill>
            </a:rPr>
            <a:t>90</a:t>
          </a:r>
          <a:r>
            <a:rPr lang="en-US" sz="1000" b="1" dirty="0">
              <a:solidFill>
                <a:schemeClr val="tx1"/>
              </a:solidFill>
            </a:rPr>
            <a:t> days)</a:t>
          </a:r>
        </a:p>
      </dgm:t>
    </dgm:pt>
    <dgm:pt modelId="{D7AD2902-6F37-4EB6-B6EC-C1349D73C805}" type="parTrans" cxnId="{8E696739-4710-409E-9F6A-6415847D2AA7}">
      <dgm:prSet/>
      <dgm:spPr>
        <a:ln>
          <a:solidFill>
            <a:schemeClr val="bg2"/>
          </a:solidFill>
          <a:headEnd type="none" w="med" len="med"/>
          <a:tailEnd type="triangle" w="med" len="med"/>
        </a:ln>
      </dgm:spPr>
      <dgm:t>
        <a:bodyPr/>
        <a:lstStyle/>
        <a:p>
          <a:endParaRPr lang="en-US" sz="1000" b="1"/>
        </a:p>
      </dgm:t>
    </dgm:pt>
    <dgm:pt modelId="{7D804DBF-C5C2-48B4-A128-81D9E02AE9AB}" type="sibTrans" cxnId="{8E696739-4710-409E-9F6A-6415847D2AA7}">
      <dgm:prSet/>
      <dgm:spPr/>
      <dgm:t>
        <a:bodyPr/>
        <a:lstStyle/>
        <a:p>
          <a:endParaRPr lang="en-US" sz="1000" b="1"/>
        </a:p>
      </dgm:t>
    </dgm:pt>
    <dgm:pt modelId="{0602ED7E-9C90-492C-B953-EE44638FBB95}">
      <dgm:prSet phldrT="[Text]" custT="1"/>
      <dgm:spPr>
        <a:noFill/>
        <a:ln>
          <a:noFill/>
        </a:ln>
      </dgm:spPr>
      <dgm:t>
        <a:bodyPr/>
        <a:lstStyle/>
        <a:p>
          <a:r>
            <a:rPr lang="en-US" sz="1000" b="1" dirty="0">
              <a:solidFill>
                <a:schemeClr val="tx1"/>
              </a:solidFill>
            </a:rPr>
            <a:t>Delay</a:t>
          </a:r>
        </a:p>
      </dgm:t>
    </dgm:pt>
    <dgm:pt modelId="{E5F8A749-E885-42C9-B9EE-5E6294529BB1}" type="parTrans" cxnId="{A464C615-08A4-4308-9D31-176CD272EFC4}">
      <dgm:prSet/>
      <dgm:spPr>
        <a:ln>
          <a:solidFill>
            <a:srgbClr val="FF0000"/>
          </a:solidFill>
          <a:prstDash val="lgDash"/>
          <a:headEnd type="none" w="med" len="med"/>
          <a:tailEnd type="triangle" w="med" len="med"/>
        </a:ln>
      </dgm:spPr>
      <dgm:t>
        <a:bodyPr/>
        <a:lstStyle/>
        <a:p>
          <a:endParaRPr lang="en-US" sz="1000" b="1"/>
        </a:p>
      </dgm:t>
    </dgm:pt>
    <dgm:pt modelId="{8CBAE86F-2481-427D-A7BB-5410C2C474AF}" type="sibTrans" cxnId="{A464C615-08A4-4308-9D31-176CD272EFC4}">
      <dgm:prSet/>
      <dgm:spPr/>
      <dgm:t>
        <a:bodyPr/>
        <a:lstStyle/>
        <a:p>
          <a:endParaRPr lang="en-US" sz="1000" b="1"/>
        </a:p>
      </dgm:t>
    </dgm:pt>
    <dgm:pt modelId="{AD6FBD3B-8A7D-4317-BB75-D2A9592FB8BE}">
      <dgm:prSet phldrT="[Text]" custT="1"/>
      <dgm:spPr>
        <a:solidFill>
          <a:srgbClr val="FFC000"/>
        </a:solidFill>
        <a:ln>
          <a:noFill/>
        </a:ln>
      </dgm:spPr>
      <dgm:t>
        <a:bodyPr/>
        <a:lstStyle/>
        <a:p>
          <a:r>
            <a:rPr lang="en-US" sz="1100" b="1" dirty="0">
              <a:solidFill>
                <a:schemeClr val="tx1"/>
              </a:solidFill>
            </a:rPr>
            <a:t>Delay</a:t>
          </a:r>
        </a:p>
      </dgm:t>
    </dgm:pt>
    <dgm:pt modelId="{1DF9E748-BE9E-4485-997D-1484062506CD}" type="parTrans" cxnId="{3F98450E-CE74-402F-B147-B71B24C6FB18}">
      <dgm:prSet/>
      <dgm:spPr>
        <a:ln>
          <a:noFill/>
        </a:ln>
      </dgm:spPr>
      <dgm:t>
        <a:bodyPr/>
        <a:lstStyle/>
        <a:p>
          <a:endParaRPr lang="en-US" sz="1000" b="1"/>
        </a:p>
      </dgm:t>
    </dgm:pt>
    <dgm:pt modelId="{791C9EC4-B42B-4F06-BD72-5A1377A347A4}" type="sibTrans" cxnId="{3F98450E-CE74-402F-B147-B71B24C6FB18}">
      <dgm:prSet/>
      <dgm:spPr/>
      <dgm:t>
        <a:bodyPr/>
        <a:lstStyle/>
        <a:p>
          <a:endParaRPr lang="en-US" sz="1000" b="1"/>
        </a:p>
      </dgm:t>
    </dgm:pt>
    <dgm:pt modelId="{95C081EA-E623-4650-8D9D-F9DDE315F8E5}">
      <dgm:prSet phldrT="[Text]" custT="1"/>
      <dgm:spPr>
        <a:solidFill>
          <a:schemeClr val="bg1">
            <a:lumMod val="50000"/>
          </a:schemeClr>
        </a:solidFill>
        <a:ln>
          <a:noFill/>
        </a:ln>
      </dgm:spPr>
      <dgm:t>
        <a:bodyPr/>
        <a:lstStyle/>
        <a:p>
          <a:r>
            <a:rPr lang="en-US" sz="1100" b="1" dirty="0"/>
            <a:t>No expansion</a:t>
          </a:r>
          <a:endParaRPr lang="en-US" sz="1100" b="1" dirty="0">
            <a:solidFill>
              <a:sysClr val="windowText" lastClr="000000"/>
            </a:solidFill>
          </a:endParaRPr>
        </a:p>
      </dgm:t>
    </dgm:pt>
    <dgm:pt modelId="{0854C3F3-3B12-44C3-A3C2-FF2A3971B0EA}" type="sibTrans" cxnId="{1F135081-99B2-499E-AF49-E1B383697C50}">
      <dgm:prSet/>
      <dgm:spPr/>
      <dgm:t>
        <a:bodyPr/>
        <a:lstStyle/>
        <a:p>
          <a:endParaRPr lang="en-US" sz="1000" b="1"/>
        </a:p>
      </dgm:t>
    </dgm:pt>
    <dgm:pt modelId="{B56C1068-89F2-4261-94F2-98377A59CF83}" type="parTrans" cxnId="{1F135081-99B2-499E-AF49-E1B383697C50}">
      <dgm:prSet/>
      <dgm:spPr>
        <a:ln>
          <a:noFill/>
        </a:ln>
      </dgm:spPr>
      <dgm:t>
        <a:bodyPr/>
        <a:lstStyle/>
        <a:p>
          <a:endParaRPr lang="en-US" sz="1000" b="1"/>
        </a:p>
      </dgm:t>
    </dgm:pt>
    <dgm:pt modelId="{5AF7821A-E4E4-49F2-8CDD-D8E21E18D6E7}" type="pres">
      <dgm:prSet presAssocID="{DD0D810A-461B-43AB-9074-9E97C0408D20}" presName="hierChild1" presStyleCnt="0">
        <dgm:presLayoutVars>
          <dgm:orgChart val="1"/>
          <dgm:chPref val="1"/>
          <dgm:dir/>
          <dgm:animOne val="branch"/>
          <dgm:animLvl val="lvl"/>
          <dgm:resizeHandles/>
        </dgm:presLayoutVars>
      </dgm:prSet>
      <dgm:spPr/>
    </dgm:pt>
    <dgm:pt modelId="{80C2B7DA-1707-47D2-8EFC-5288AE8913B6}" type="pres">
      <dgm:prSet presAssocID="{08EED27D-B691-455A-8D11-8D4400592106}" presName="hierRoot1" presStyleCnt="0">
        <dgm:presLayoutVars>
          <dgm:hierBranch val="init"/>
        </dgm:presLayoutVars>
      </dgm:prSet>
      <dgm:spPr/>
    </dgm:pt>
    <dgm:pt modelId="{6175FF66-8DB8-481C-B9D3-3EA8A4149F44}" type="pres">
      <dgm:prSet presAssocID="{08EED27D-B691-455A-8D11-8D4400592106}" presName="rootComposite1" presStyleCnt="0"/>
      <dgm:spPr/>
    </dgm:pt>
    <dgm:pt modelId="{CA82278E-F451-4EA7-A79E-93E1B57BBB1F}" type="pres">
      <dgm:prSet presAssocID="{08EED27D-B691-455A-8D11-8D4400592106}" presName="rootText1" presStyleLbl="node0" presStyleIdx="0" presStyleCnt="6" custScaleX="75882" custScaleY="65818" custLinFactNeighborX="-20788" custLinFactNeighborY="18884">
        <dgm:presLayoutVars>
          <dgm:chPref val="3"/>
        </dgm:presLayoutVars>
      </dgm:prSet>
      <dgm:spPr>
        <a:prstGeom prst="roundRect">
          <a:avLst/>
        </a:prstGeom>
      </dgm:spPr>
    </dgm:pt>
    <dgm:pt modelId="{34623623-3BE4-45CF-BD25-CAAB9AF090E9}" type="pres">
      <dgm:prSet presAssocID="{08EED27D-B691-455A-8D11-8D4400592106}" presName="rootConnector1" presStyleLbl="node1" presStyleIdx="0" presStyleCnt="0"/>
      <dgm:spPr/>
    </dgm:pt>
    <dgm:pt modelId="{967DC226-F180-4127-893E-63135C92783A}" type="pres">
      <dgm:prSet presAssocID="{08EED27D-B691-455A-8D11-8D4400592106}" presName="hierChild2" presStyleCnt="0"/>
      <dgm:spPr/>
    </dgm:pt>
    <dgm:pt modelId="{138DA514-4305-4324-9DD8-A4E5D22470C0}" type="pres">
      <dgm:prSet presAssocID="{F777E9C7-1812-46A8-9B44-36F638B989E3}" presName="Name64" presStyleLbl="parChTrans1D2" presStyleIdx="0" presStyleCnt="6"/>
      <dgm:spPr/>
    </dgm:pt>
    <dgm:pt modelId="{A529037C-7282-41BC-829D-90E41CBB3114}" type="pres">
      <dgm:prSet presAssocID="{25689892-4E7D-40AA-A673-4C1F0CF0FA5A}" presName="hierRoot2" presStyleCnt="0">
        <dgm:presLayoutVars>
          <dgm:hierBranch val="init"/>
        </dgm:presLayoutVars>
      </dgm:prSet>
      <dgm:spPr/>
    </dgm:pt>
    <dgm:pt modelId="{C8B28FF1-0151-406F-9BD0-E3B77F05369F}" type="pres">
      <dgm:prSet presAssocID="{25689892-4E7D-40AA-A673-4C1F0CF0FA5A}" presName="rootComposite" presStyleCnt="0"/>
      <dgm:spPr/>
    </dgm:pt>
    <dgm:pt modelId="{D4AD3584-CCC7-4C5D-BA2B-08F7C45B2342}" type="pres">
      <dgm:prSet presAssocID="{25689892-4E7D-40AA-A673-4C1F0CF0FA5A}" presName="rootText" presStyleLbl="node2" presStyleIdx="0" presStyleCnt="6" custScaleX="58758" custScaleY="118202" custLinFactNeighborX="-370" custLinFactNeighborY="18884">
        <dgm:presLayoutVars>
          <dgm:chPref val="3"/>
        </dgm:presLayoutVars>
      </dgm:prSet>
      <dgm:spPr>
        <a:prstGeom prst="ellipse">
          <a:avLst/>
        </a:prstGeom>
      </dgm:spPr>
    </dgm:pt>
    <dgm:pt modelId="{51A2BFE9-2CCD-44C6-9C5D-AA2D7B94BF08}" type="pres">
      <dgm:prSet presAssocID="{25689892-4E7D-40AA-A673-4C1F0CF0FA5A}" presName="rootConnector" presStyleLbl="node2" presStyleIdx="0" presStyleCnt="6"/>
      <dgm:spPr/>
    </dgm:pt>
    <dgm:pt modelId="{ABD2552C-D71B-4C5F-AD9C-234A9D45F0AB}" type="pres">
      <dgm:prSet presAssocID="{25689892-4E7D-40AA-A673-4C1F0CF0FA5A}" presName="hierChild4" presStyleCnt="0"/>
      <dgm:spPr/>
    </dgm:pt>
    <dgm:pt modelId="{1D238B17-4702-4BC2-BE36-EB12789119F6}" type="pres">
      <dgm:prSet presAssocID="{B56C1068-89F2-4261-94F2-98377A59CF83}" presName="Name64" presStyleLbl="parChTrans1D3" presStyleIdx="0" presStyleCnt="3"/>
      <dgm:spPr/>
    </dgm:pt>
    <dgm:pt modelId="{004F2797-0A35-4803-A8F6-A10C3F438A71}" type="pres">
      <dgm:prSet presAssocID="{95C081EA-E623-4650-8D9D-F9DDE315F8E5}" presName="hierRoot2" presStyleCnt="0">
        <dgm:presLayoutVars>
          <dgm:hierBranch val="init"/>
        </dgm:presLayoutVars>
      </dgm:prSet>
      <dgm:spPr/>
    </dgm:pt>
    <dgm:pt modelId="{177DA025-CC0E-40EB-81C5-DD183799493A}" type="pres">
      <dgm:prSet presAssocID="{95C081EA-E623-4650-8D9D-F9DDE315F8E5}" presName="rootComposite" presStyleCnt="0"/>
      <dgm:spPr/>
    </dgm:pt>
    <dgm:pt modelId="{0EE0040A-1396-415B-8C01-1232BE958866}" type="pres">
      <dgm:prSet presAssocID="{95C081EA-E623-4650-8D9D-F9DDE315F8E5}" presName="rootText" presStyleLbl="node3" presStyleIdx="0" presStyleCnt="3" custScaleX="94093" custScaleY="123401" custLinFactNeighborX="28821" custLinFactNeighborY="62490">
        <dgm:presLayoutVars>
          <dgm:chPref val="3"/>
        </dgm:presLayoutVars>
      </dgm:prSet>
      <dgm:spPr>
        <a:prstGeom prst="flowChartDisplay">
          <a:avLst/>
        </a:prstGeom>
      </dgm:spPr>
    </dgm:pt>
    <dgm:pt modelId="{86C0B054-993D-4151-9D3E-C2A00B395E81}" type="pres">
      <dgm:prSet presAssocID="{95C081EA-E623-4650-8D9D-F9DDE315F8E5}" presName="rootConnector" presStyleLbl="node3" presStyleIdx="0" presStyleCnt="3"/>
      <dgm:spPr/>
    </dgm:pt>
    <dgm:pt modelId="{EBB6F584-BB2C-455C-8241-A86734C8CD05}" type="pres">
      <dgm:prSet presAssocID="{95C081EA-E623-4650-8D9D-F9DDE315F8E5}" presName="hierChild4" presStyleCnt="0"/>
      <dgm:spPr/>
    </dgm:pt>
    <dgm:pt modelId="{52201E78-AF28-46F4-909E-5B63B07F75CF}" type="pres">
      <dgm:prSet presAssocID="{95C081EA-E623-4650-8D9D-F9DDE315F8E5}" presName="hierChild5" presStyleCnt="0"/>
      <dgm:spPr/>
    </dgm:pt>
    <dgm:pt modelId="{50E30CAA-BFDE-437B-B60D-77B70AB889E5}" type="pres">
      <dgm:prSet presAssocID="{25689892-4E7D-40AA-A673-4C1F0CF0FA5A}" presName="hierChild5" presStyleCnt="0"/>
      <dgm:spPr/>
    </dgm:pt>
    <dgm:pt modelId="{CE207384-9C5C-42F5-AA42-3083E271C6CA}" type="pres">
      <dgm:prSet presAssocID="{08EED27D-B691-455A-8D11-8D4400592106}" presName="hierChild3" presStyleCnt="0"/>
      <dgm:spPr/>
    </dgm:pt>
    <dgm:pt modelId="{4BD177F1-71A5-42DC-ADD4-97EB642BC6F7}" type="pres">
      <dgm:prSet presAssocID="{A0160691-C5F9-44B8-9B17-16C16C30252D}" presName="hierRoot1" presStyleCnt="0">
        <dgm:presLayoutVars>
          <dgm:hierBranch val="init"/>
        </dgm:presLayoutVars>
      </dgm:prSet>
      <dgm:spPr/>
    </dgm:pt>
    <dgm:pt modelId="{46DA27E1-06FD-4F4A-A9DF-3CD32D763FE7}" type="pres">
      <dgm:prSet presAssocID="{A0160691-C5F9-44B8-9B17-16C16C30252D}" presName="rootComposite1" presStyleCnt="0"/>
      <dgm:spPr/>
    </dgm:pt>
    <dgm:pt modelId="{EBCCF8B9-6E13-4F0A-BE2A-F8631A1C1FC2}" type="pres">
      <dgm:prSet presAssocID="{A0160691-C5F9-44B8-9B17-16C16C30252D}" presName="rootText1" presStyleLbl="node0" presStyleIdx="1" presStyleCnt="6" custScaleX="75882" custScaleY="65818" custLinFactNeighborX="-20788" custLinFactNeighborY="-49334">
        <dgm:presLayoutVars>
          <dgm:chPref val="3"/>
        </dgm:presLayoutVars>
      </dgm:prSet>
      <dgm:spPr>
        <a:prstGeom prst="roundRect">
          <a:avLst/>
        </a:prstGeom>
      </dgm:spPr>
    </dgm:pt>
    <dgm:pt modelId="{E0713CEF-0EB2-4330-9243-6E22FB263EAB}" type="pres">
      <dgm:prSet presAssocID="{A0160691-C5F9-44B8-9B17-16C16C30252D}" presName="rootConnector1" presStyleLbl="node1" presStyleIdx="0" presStyleCnt="0"/>
      <dgm:spPr/>
    </dgm:pt>
    <dgm:pt modelId="{C1664349-10AB-46D2-94A6-63717898D71D}" type="pres">
      <dgm:prSet presAssocID="{A0160691-C5F9-44B8-9B17-16C16C30252D}" presName="hierChild2" presStyleCnt="0"/>
      <dgm:spPr/>
    </dgm:pt>
    <dgm:pt modelId="{E5C0F204-0BA5-475D-BA78-58C4F5296014}" type="pres">
      <dgm:prSet presAssocID="{3935ABD3-BCEB-4366-8068-AF4AC2EC6F86}" presName="Name64" presStyleLbl="parChTrans1D2" presStyleIdx="1" presStyleCnt="6"/>
      <dgm:spPr/>
    </dgm:pt>
    <dgm:pt modelId="{290712CB-1DDF-4D68-9E5C-7197A0534851}" type="pres">
      <dgm:prSet presAssocID="{181337CE-57D4-4E7A-A05B-60A37E2377AA}" presName="hierRoot2" presStyleCnt="0">
        <dgm:presLayoutVars>
          <dgm:hierBranch val="init"/>
        </dgm:presLayoutVars>
      </dgm:prSet>
      <dgm:spPr/>
    </dgm:pt>
    <dgm:pt modelId="{2E93130A-9444-4D53-BD77-CAA218240F42}" type="pres">
      <dgm:prSet presAssocID="{181337CE-57D4-4E7A-A05B-60A37E2377AA}" presName="rootComposite" presStyleCnt="0"/>
      <dgm:spPr/>
    </dgm:pt>
    <dgm:pt modelId="{B8AA2A11-64AA-4FE4-9F64-0E4D555198E6}" type="pres">
      <dgm:prSet presAssocID="{181337CE-57D4-4E7A-A05B-60A37E2377AA}" presName="rootText" presStyleLbl="node2" presStyleIdx="1" presStyleCnt="6" custScaleX="58758" custScaleY="118202" custLinFactNeighborX="-370" custLinFactNeighborY="-49334">
        <dgm:presLayoutVars>
          <dgm:chPref val="3"/>
        </dgm:presLayoutVars>
      </dgm:prSet>
      <dgm:spPr>
        <a:prstGeom prst="ellipse">
          <a:avLst/>
        </a:prstGeom>
      </dgm:spPr>
    </dgm:pt>
    <dgm:pt modelId="{07A69A87-9540-482A-9996-68EA3C7E714E}" type="pres">
      <dgm:prSet presAssocID="{181337CE-57D4-4E7A-A05B-60A37E2377AA}" presName="rootConnector" presStyleLbl="node2" presStyleIdx="1" presStyleCnt="6"/>
      <dgm:spPr/>
    </dgm:pt>
    <dgm:pt modelId="{AA8EFDEF-8FD8-4933-A2B5-75D59B00BEFE}" type="pres">
      <dgm:prSet presAssocID="{181337CE-57D4-4E7A-A05B-60A37E2377AA}" presName="hierChild4" presStyleCnt="0"/>
      <dgm:spPr/>
    </dgm:pt>
    <dgm:pt modelId="{6023BCC4-6DF0-4399-99E0-F319E9304DD8}" type="pres">
      <dgm:prSet presAssocID="{181337CE-57D4-4E7A-A05B-60A37E2377AA}" presName="hierChild5" presStyleCnt="0"/>
      <dgm:spPr/>
    </dgm:pt>
    <dgm:pt modelId="{8D9E2A64-42B6-41B5-BBB9-2B0527FD2A03}" type="pres">
      <dgm:prSet presAssocID="{A0160691-C5F9-44B8-9B17-16C16C30252D}" presName="hierChild3" presStyleCnt="0"/>
      <dgm:spPr/>
    </dgm:pt>
    <dgm:pt modelId="{8B5217B2-D8A9-4406-95CD-193DFB136C0C}" type="pres">
      <dgm:prSet presAssocID="{374E3B40-BBBE-480A-AFB4-88D490633E79}" presName="hierRoot1" presStyleCnt="0">
        <dgm:presLayoutVars>
          <dgm:hierBranch val="init"/>
        </dgm:presLayoutVars>
      </dgm:prSet>
      <dgm:spPr/>
    </dgm:pt>
    <dgm:pt modelId="{96E018EA-A970-4DA3-830B-5B7BB854B367}" type="pres">
      <dgm:prSet presAssocID="{374E3B40-BBBE-480A-AFB4-88D490633E79}" presName="rootComposite1" presStyleCnt="0"/>
      <dgm:spPr/>
    </dgm:pt>
    <dgm:pt modelId="{9FC8182C-B293-4C29-819C-5B43DEE42D86}" type="pres">
      <dgm:prSet presAssocID="{374E3B40-BBBE-480A-AFB4-88D490633E79}" presName="rootText1" presStyleLbl="node0" presStyleIdx="2" presStyleCnt="6" custScaleX="75882" custScaleY="65818" custLinFactNeighborX="-24268" custLinFactNeighborY="26170">
        <dgm:presLayoutVars>
          <dgm:chPref val="3"/>
        </dgm:presLayoutVars>
      </dgm:prSet>
      <dgm:spPr>
        <a:prstGeom prst="roundRect">
          <a:avLst/>
        </a:prstGeom>
      </dgm:spPr>
    </dgm:pt>
    <dgm:pt modelId="{9F0BEDB9-7DCE-4904-9629-127EC139FFBD}" type="pres">
      <dgm:prSet presAssocID="{374E3B40-BBBE-480A-AFB4-88D490633E79}" presName="rootConnector1" presStyleLbl="node1" presStyleIdx="0" presStyleCnt="0"/>
      <dgm:spPr/>
    </dgm:pt>
    <dgm:pt modelId="{A604F5CC-EA0C-465B-AA09-58BA5C447BF1}" type="pres">
      <dgm:prSet presAssocID="{374E3B40-BBBE-480A-AFB4-88D490633E79}" presName="hierChild2" presStyleCnt="0"/>
      <dgm:spPr/>
    </dgm:pt>
    <dgm:pt modelId="{8FC2B97D-DB59-4737-9207-C815A23BF65E}" type="pres">
      <dgm:prSet presAssocID="{6E609385-C993-4BC2-9C17-F960FE135F9E}" presName="Name64" presStyleLbl="parChTrans1D2" presStyleIdx="2" presStyleCnt="6"/>
      <dgm:spPr/>
    </dgm:pt>
    <dgm:pt modelId="{34A0EE78-3DF5-4909-A7B6-15CBCD97511B}" type="pres">
      <dgm:prSet presAssocID="{EF3D876D-3EE3-4D07-AAFA-45A65E67153D}" presName="hierRoot2" presStyleCnt="0">
        <dgm:presLayoutVars>
          <dgm:hierBranch val="init"/>
        </dgm:presLayoutVars>
      </dgm:prSet>
      <dgm:spPr/>
    </dgm:pt>
    <dgm:pt modelId="{29389128-715E-4BB8-9030-711F62B0656F}" type="pres">
      <dgm:prSet presAssocID="{EF3D876D-3EE3-4D07-AAFA-45A65E67153D}" presName="rootComposite" presStyleCnt="0"/>
      <dgm:spPr/>
    </dgm:pt>
    <dgm:pt modelId="{3F481A9A-E90C-4996-961E-95AB6F4713AE}" type="pres">
      <dgm:prSet presAssocID="{EF3D876D-3EE3-4D07-AAFA-45A65E67153D}" presName="rootText" presStyleLbl="node2" presStyleIdx="2" presStyleCnt="6" custScaleX="58758" custScaleY="118202" custLinFactNeighborX="-370" custLinFactNeighborY="26170">
        <dgm:presLayoutVars>
          <dgm:chPref val="3"/>
        </dgm:presLayoutVars>
      </dgm:prSet>
      <dgm:spPr>
        <a:prstGeom prst="ellipse">
          <a:avLst/>
        </a:prstGeom>
      </dgm:spPr>
    </dgm:pt>
    <dgm:pt modelId="{F8C2BD55-4131-46B1-9C8F-F2A0FB0317A4}" type="pres">
      <dgm:prSet presAssocID="{EF3D876D-3EE3-4D07-AAFA-45A65E67153D}" presName="rootConnector" presStyleLbl="node2" presStyleIdx="2" presStyleCnt="6"/>
      <dgm:spPr/>
    </dgm:pt>
    <dgm:pt modelId="{89649727-9223-4170-8570-F806B1255349}" type="pres">
      <dgm:prSet presAssocID="{EF3D876D-3EE3-4D07-AAFA-45A65E67153D}" presName="hierChild4" presStyleCnt="0"/>
      <dgm:spPr/>
    </dgm:pt>
    <dgm:pt modelId="{13B287E4-143C-46B8-BB97-EE4AB23BB594}" type="pres">
      <dgm:prSet presAssocID="{A20406A2-2D7C-4A2D-8277-F2D7CFFC3989}" presName="Name64" presStyleLbl="parChTrans1D3" presStyleIdx="1" presStyleCnt="3"/>
      <dgm:spPr/>
    </dgm:pt>
    <dgm:pt modelId="{167D6D34-8479-49A9-90D8-463019E5D7C4}" type="pres">
      <dgm:prSet presAssocID="{5CC210C8-5E6E-48F0-8FD0-6A866839FB6B}" presName="hierRoot2" presStyleCnt="0">
        <dgm:presLayoutVars>
          <dgm:hierBranch val="init"/>
        </dgm:presLayoutVars>
      </dgm:prSet>
      <dgm:spPr/>
    </dgm:pt>
    <dgm:pt modelId="{3D41579B-CEFC-4F48-90A9-71177D2BC668}" type="pres">
      <dgm:prSet presAssocID="{5CC210C8-5E6E-48F0-8FD0-6A866839FB6B}" presName="rootComposite" presStyleCnt="0"/>
      <dgm:spPr/>
    </dgm:pt>
    <dgm:pt modelId="{819DBB63-9FFA-4E43-A6FD-4C64089534ED}" type="pres">
      <dgm:prSet presAssocID="{5CC210C8-5E6E-48F0-8FD0-6A866839FB6B}" presName="rootText" presStyleLbl="node3" presStyleIdx="1" presStyleCnt="3" custScaleX="94093" custScaleY="123401" custLinFactNeighborX="28528" custLinFactNeighborY="73158">
        <dgm:presLayoutVars>
          <dgm:chPref val="3"/>
        </dgm:presLayoutVars>
      </dgm:prSet>
      <dgm:spPr>
        <a:prstGeom prst="flowChartDisplay">
          <a:avLst/>
        </a:prstGeom>
      </dgm:spPr>
    </dgm:pt>
    <dgm:pt modelId="{61996124-B121-4C46-839E-B33748350A1C}" type="pres">
      <dgm:prSet presAssocID="{5CC210C8-5E6E-48F0-8FD0-6A866839FB6B}" presName="rootConnector" presStyleLbl="node3" presStyleIdx="1" presStyleCnt="3"/>
      <dgm:spPr/>
    </dgm:pt>
    <dgm:pt modelId="{54A2FDD9-E01D-4F18-A735-3C0A31DB24C6}" type="pres">
      <dgm:prSet presAssocID="{5CC210C8-5E6E-48F0-8FD0-6A866839FB6B}" presName="hierChild4" presStyleCnt="0"/>
      <dgm:spPr/>
    </dgm:pt>
    <dgm:pt modelId="{A51272A7-807E-45A4-8542-482B290D118F}" type="pres">
      <dgm:prSet presAssocID="{5CC210C8-5E6E-48F0-8FD0-6A866839FB6B}" presName="hierChild5" presStyleCnt="0"/>
      <dgm:spPr/>
    </dgm:pt>
    <dgm:pt modelId="{012871F6-A4FF-4931-B07F-977EBC7CF012}" type="pres">
      <dgm:prSet presAssocID="{EF3D876D-3EE3-4D07-AAFA-45A65E67153D}" presName="hierChild5" presStyleCnt="0"/>
      <dgm:spPr/>
    </dgm:pt>
    <dgm:pt modelId="{FE254E6B-1A30-45E9-9FD1-F9E71E9C56CB}" type="pres">
      <dgm:prSet presAssocID="{374E3B40-BBBE-480A-AFB4-88D490633E79}" presName="hierChild3" presStyleCnt="0"/>
      <dgm:spPr/>
    </dgm:pt>
    <dgm:pt modelId="{DE52C9D7-1C26-4F2C-8884-F0161087CFEC}" type="pres">
      <dgm:prSet presAssocID="{85023C2C-452D-4AC9-A6FA-0F9D7138C59C}" presName="hierRoot1" presStyleCnt="0">
        <dgm:presLayoutVars>
          <dgm:hierBranch val="init"/>
        </dgm:presLayoutVars>
      </dgm:prSet>
      <dgm:spPr/>
    </dgm:pt>
    <dgm:pt modelId="{2594697B-A8B0-4DF6-9B4B-C4C147C6BFE4}" type="pres">
      <dgm:prSet presAssocID="{85023C2C-452D-4AC9-A6FA-0F9D7138C59C}" presName="rootComposite1" presStyleCnt="0"/>
      <dgm:spPr/>
    </dgm:pt>
    <dgm:pt modelId="{66F839EA-1216-4387-BF5F-361D2D94650D}" type="pres">
      <dgm:prSet presAssocID="{85023C2C-452D-4AC9-A6FA-0F9D7138C59C}" presName="rootText1" presStyleLbl="node0" presStyleIdx="3" presStyleCnt="6" custScaleX="75882" custScaleY="65818" custLinFactNeighborX="-24268" custLinFactNeighborY="-42047">
        <dgm:presLayoutVars>
          <dgm:chPref val="3"/>
        </dgm:presLayoutVars>
      </dgm:prSet>
      <dgm:spPr>
        <a:prstGeom prst="roundRect">
          <a:avLst/>
        </a:prstGeom>
      </dgm:spPr>
    </dgm:pt>
    <dgm:pt modelId="{CFC18B94-4FBA-47CD-ABD6-749462FCC69A}" type="pres">
      <dgm:prSet presAssocID="{85023C2C-452D-4AC9-A6FA-0F9D7138C59C}" presName="rootConnector1" presStyleLbl="node1" presStyleIdx="0" presStyleCnt="0"/>
      <dgm:spPr/>
    </dgm:pt>
    <dgm:pt modelId="{8008F72F-2BF3-4F4B-B1AE-6D23C28FEC3F}" type="pres">
      <dgm:prSet presAssocID="{85023C2C-452D-4AC9-A6FA-0F9D7138C59C}" presName="hierChild2" presStyleCnt="0"/>
      <dgm:spPr/>
    </dgm:pt>
    <dgm:pt modelId="{9484AD96-A6D5-4748-969C-E4B92A970937}" type="pres">
      <dgm:prSet presAssocID="{BC42BC40-0016-4436-879E-4DDC17E681D8}" presName="Name64" presStyleLbl="parChTrans1D2" presStyleIdx="3" presStyleCnt="6"/>
      <dgm:spPr/>
    </dgm:pt>
    <dgm:pt modelId="{F0908C13-C516-4E97-AE4F-A27E3162C72B}" type="pres">
      <dgm:prSet presAssocID="{4E5FFA0C-6510-4201-A7B1-ABD5AEF2D97A}" presName="hierRoot2" presStyleCnt="0">
        <dgm:presLayoutVars>
          <dgm:hierBranch val="init"/>
        </dgm:presLayoutVars>
      </dgm:prSet>
      <dgm:spPr/>
    </dgm:pt>
    <dgm:pt modelId="{2E81F640-154B-4417-B0A9-D6EB5324CCDA}" type="pres">
      <dgm:prSet presAssocID="{4E5FFA0C-6510-4201-A7B1-ABD5AEF2D97A}" presName="rootComposite" presStyleCnt="0"/>
      <dgm:spPr/>
    </dgm:pt>
    <dgm:pt modelId="{20E39DE7-734B-43EE-83E1-5DA2E5DB6F29}" type="pres">
      <dgm:prSet presAssocID="{4E5FFA0C-6510-4201-A7B1-ABD5AEF2D97A}" presName="rootText" presStyleLbl="node2" presStyleIdx="3" presStyleCnt="6" custScaleX="58758" custScaleY="118202" custLinFactNeighborX="-370" custLinFactNeighborY="-42047">
        <dgm:presLayoutVars>
          <dgm:chPref val="3"/>
        </dgm:presLayoutVars>
      </dgm:prSet>
      <dgm:spPr>
        <a:prstGeom prst="ellipse">
          <a:avLst/>
        </a:prstGeom>
      </dgm:spPr>
    </dgm:pt>
    <dgm:pt modelId="{6F1015F1-923E-445D-9DC0-CC0AADDA21B0}" type="pres">
      <dgm:prSet presAssocID="{4E5FFA0C-6510-4201-A7B1-ABD5AEF2D97A}" presName="rootConnector" presStyleLbl="node2" presStyleIdx="3" presStyleCnt="6"/>
      <dgm:spPr/>
    </dgm:pt>
    <dgm:pt modelId="{47F9191B-8921-427D-A218-4B1FA0964AB1}" type="pres">
      <dgm:prSet presAssocID="{4E5FFA0C-6510-4201-A7B1-ABD5AEF2D97A}" presName="hierChild4" presStyleCnt="0"/>
      <dgm:spPr/>
    </dgm:pt>
    <dgm:pt modelId="{3CAB266D-C7D7-412C-A49D-595498C85A94}" type="pres">
      <dgm:prSet presAssocID="{4E5FFA0C-6510-4201-A7B1-ABD5AEF2D97A}" presName="hierChild5" presStyleCnt="0"/>
      <dgm:spPr/>
    </dgm:pt>
    <dgm:pt modelId="{2FCDA872-C4AD-4128-907B-23A336D4CF4F}" type="pres">
      <dgm:prSet presAssocID="{85023C2C-452D-4AC9-A6FA-0F9D7138C59C}" presName="hierChild3" presStyleCnt="0"/>
      <dgm:spPr/>
    </dgm:pt>
    <dgm:pt modelId="{548E39BF-3D16-4FA0-806F-A12583432E44}" type="pres">
      <dgm:prSet presAssocID="{6C071D51-77B8-4EFD-9FB6-FCEF2ADC1246}" presName="hierRoot1" presStyleCnt="0">
        <dgm:presLayoutVars>
          <dgm:hierBranch val="init"/>
        </dgm:presLayoutVars>
      </dgm:prSet>
      <dgm:spPr/>
    </dgm:pt>
    <dgm:pt modelId="{CE63C615-46B4-4681-A9AF-FAB968BA1A11}" type="pres">
      <dgm:prSet presAssocID="{6C071D51-77B8-4EFD-9FB6-FCEF2ADC1246}" presName="rootComposite1" presStyleCnt="0"/>
      <dgm:spPr/>
    </dgm:pt>
    <dgm:pt modelId="{34B92687-26AF-45EB-AA9C-D562FD3F5B8B}" type="pres">
      <dgm:prSet presAssocID="{6C071D51-77B8-4EFD-9FB6-FCEF2ADC1246}" presName="rootText1" presStyleLbl="node0" presStyleIdx="4" presStyleCnt="6" custScaleX="75882" custScaleY="65818" custLinFactNeighborX="-24268" custLinFactNeighborY="42466">
        <dgm:presLayoutVars>
          <dgm:chPref val="3"/>
        </dgm:presLayoutVars>
      </dgm:prSet>
      <dgm:spPr>
        <a:prstGeom prst="roundRect">
          <a:avLst/>
        </a:prstGeom>
      </dgm:spPr>
    </dgm:pt>
    <dgm:pt modelId="{10904998-4AC3-4226-96FF-4468A42FBDAE}" type="pres">
      <dgm:prSet presAssocID="{6C071D51-77B8-4EFD-9FB6-FCEF2ADC1246}" presName="rootConnector1" presStyleLbl="node1" presStyleIdx="0" presStyleCnt="0"/>
      <dgm:spPr/>
    </dgm:pt>
    <dgm:pt modelId="{314849F8-32DF-4E05-86A2-78390C9812CA}" type="pres">
      <dgm:prSet presAssocID="{6C071D51-77B8-4EFD-9FB6-FCEF2ADC1246}" presName="hierChild2" presStyleCnt="0"/>
      <dgm:spPr/>
    </dgm:pt>
    <dgm:pt modelId="{F580550D-7334-4B9E-95B2-51BB673FC8D1}" type="pres">
      <dgm:prSet presAssocID="{E5F8A749-E885-42C9-B9EE-5E6294529BB1}" presName="Name64" presStyleLbl="parChTrans1D2" presStyleIdx="4" presStyleCnt="6"/>
      <dgm:spPr/>
    </dgm:pt>
    <dgm:pt modelId="{5D024D76-02E8-4BC8-B6A7-1ED65FC22934}" type="pres">
      <dgm:prSet presAssocID="{0602ED7E-9C90-492C-B953-EE44638FBB95}" presName="hierRoot2" presStyleCnt="0">
        <dgm:presLayoutVars>
          <dgm:hierBranch val="init"/>
        </dgm:presLayoutVars>
      </dgm:prSet>
      <dgm:spPr/>
    </dgm:pt>
    <dgm:pt modelId="{58B89B0E-A179-4F98-A109-D527ACCA21EB}" type="pres">
      <dgm:prSet presAssocID="{0602ED7E-9C90-492C-B953-EE44638FBB95}" presName="rootComposite" presStyleCnt="0"/>
      <dgm:spPr/>
    </dgm:pt>
    <dgm:pt modelId="{4DA49A07-9EA0-48E0-9D38-EEBB3D0A0EA8}" type="pres">
      <dgm:prSet presAssocID="{0602ED7E-9C90-492C-B953-EE44638FBB95}" presName="rootText" presStyleLbl="node2" presStyleIdx="4" presStyleCnt="6" custScaleX="58758" custScaleY="118202" custLinFactNeighborX="-370" custLinFactNeighborY="42466">
        <dgm:presLayoutVars>
          <dgm:chPref val="3"/>
        </dgm:presLayoutVars>
      </dgm:prSet>
      <dgm:spPr>
        <a:prstGeom prst="ellipse">
          <a:avLst/>
        </a:prstGeom>
      </dgm:spPr>
    </dgm:pt>
    <dgm:pt modelId="{791FDAA3-E3B9-44A0-A506-C5A7896959A9}" type="pres">
      <dgm:prSet presAssocID="{0602ED7E-9C90-492C-B953-EE44638FBB95}" presName="rootConnector" presStyleLbl="node2" presStyleIdx="4" presStyleCnt="6"/>
      <dgm:spPr/>
    </dgm:pt>
    <dgm:pt modelId="{F4BAA4A6-4A8D-4FE3-BE4B-970580080373}" type="pres">
      <dgm:prSet presAssocID="{0602ED7E-9C90-492C-B953-EE44638FBB95}" presName="hierChild4" presStyleCnt="0"/>
      <dgm:spPr/>
    </dgm:pt>
    <dgm:pt modelId="{88CBFC17-B32F-40BB-A01F-845BE2F3B3D2}" type="pres">
      <dgm:prSet presAssocID="{1DF9E748-BE9E-4485-997D-1484062506CD}" presName="Name64" presStyleLbl="parChTrans1D3" presStyleIdx="2" presStyleCnt="3"/>
      <dgm:spPr/>
    </dgm:pt>
    <dgm:pt modelId="{497FC27D-FBFD-40FD-B143-73D58863783C}" type="pres">
      <dgm:prSet presAssocID="{AD6FBD3B-8A7D-4317-BB75-D2A9592FB8BE}" presName="hierRoot2" presStyleCnt="0">
        <dgm:presLayoutVars>
          <dgm:hierBranch val="init"/>
        </dgm:presLayoutVars>
      </dgm:prSet>
      <dgm:spPr/>
    </dgm:pt>
    <dgm:pt modelId="{7A78D83F-1F19-49EA-A692-D8C7154E0D2A}" type="pres">
      <dgm:prSet presAssocID="{AD6FBD3B-8A7D-4317-BB75-D2A9592FB8BE}" presName="rootComposite" presStyleCnt="0"/>
      <dgm:spPr/>
    </dgm:pt>
    <dgm:pt modelId="{185F49BA-0FB4-494E-888E-7DA48969E1D5}" type="pres">
      <dgm:prSet presAssocID="{AD6FBD3B-8A7D-4317-BB75-D2A9592FB8BE}" presName="rootText" presStyleLbl="node3" presStyleIdx="2" presStyleCnt="3" custScaleX="93901" custScaleY="137582" custLinFactNeighborX="27400" custLinFactNeighborY="78721">
        <dgm:presLayoutVars>
          <dgm:chPref val="3"/>
        </dgm:presLayoutVars>
      </dgm:prSet>
      <dgm:spPr>
        <a:prstGeom prst="flowChartDisplay">
          <a:avLst/>
        </a:prstGeom>
      </dgm:spPr>
    </dgm:pt>
    <dgm:pt modelId="{B807D448-C164-41F3-952C-4662C5DAB639}" type="pres">
      <dgm:prSet presAssocID="{AD6FBD3B-8A7D-4317-BB75-D2A9592FB8BE}" presName="rootConnector" presStyleLbl="node3" presStyleIdx="2" presStyleCnt="3"/>
      <dgm:spPr/>
    </dgm:pt>
    <dgm:pt modelId="{41C29178-ECF4-45D7-97EE-1D8ED8D70730}" type="pres">
      <dgm:prSet presAssocID="{AD6FBD3B-8A7D-4317-BB75-D2A9592FB8BE}" presName="hierChild4" presStyleCnt="0"/>
      <dgm:spPr/>
    </dgm:pt>
    <dgm:pt modelId="{C84A8BD9-3428-4B7A-98EA-1C0776D2CFCB}" type="pres">
      <dgm:prSet presAssocID="{AD6FBD3B-8A7D-4317-BB75-D2A9592FB8BE}" presName="hierChild5" presStyleCnt="0"/>
      <dgm:spPr/>
    </dgm:pt>
    <dgm:pt modelId="{3EF75164-2C5D-4F1B-95FD-4DE87B539CD2}" type="pres">
      <dgm:prSet presAssocID="{0602ED7E-9C90-492C-B953-EE44638FBB95}" presName="hierChild5" presStyleCnt="0"/>
      <dgm:spPr/>
    </dgm:pt>
    <dgm:pt modelId="{D01537A8-DB3F-48BC-9816-2C81E1C2DE94}" type="pres">
      <dgm:prSet presAssocID="{6C071D51-77B8-4EFD-9FB6-FCEF2ADC1246}" presName="hierChild3" presStyleCnt="0"/>
      <dgm:spPr/>
    </dgm:pt>
    <dgm:pt modelId="{07595309-A3B9-48F5-9DA7-A602069CE35A}" type="pres">
      <dgm:prSet presAssocID="{FD1DBDAA-A001-4591-8DE7-1CF832D5998F}" presName="hierRoot1" presStyleCnt="0">
        <dgm:presLayoutVars>
          <dgm:hierBranch val="init"/>
        </dgm:presLayoutVars>
      </dgm:prSet>
      <dgm:spPr/>
    </dgm:pt>
    <dgm:pt modelId="{974122BA-7B94-445E-9A7E-07E6376AF83F}" type="pres">
      <dgm:prSet presAssocID="{FD1DBDAA-A001-4591-8DE7-1CF832D5998F}" presName="rootComposite1" presStyleCnt="0"/>
      <dgm:spPr/>
    </dgm:pt>
    <dgm:pt modelId="{1493CCFF-D6F7-4055-977E-E02F35F1D3DE}" type="pres">
      <dgm:prSet presAssocID="{FD1DBDAA-A001-4591-8DE7-1CF832D5998F}" presName="rootText1" presStyleLbl="node0" presStyleIdx="5" presStyleCnt="6" custScaleX="75882" custScaleY="65818" custLinFactNeighborX="-24268" custLinFactNeighborY="-25751">
        <dgm:presLayoutVars>
          <dgm:chPref val="3"/>
        </dgm:presLayoutVars>
      </dgm:prSet>
      <dgm:spPr>
        <a:prstGeom prst="roundRect">
          <a:avLst/>
        </a:prstGeom>
      </dgm:spPr>
    </dgm:pt>
    <dgm:pt modelId="{33967DC3-621D-400D-945C-99F4F4EA2AAA}" type="pres">
      <dgm:prSet presAssocID="{FD1DBDAA-A001-4591-8DE7-1CF832D5998F}" presName="rootConnector1" presStyleLbl="node1" presStyleIdx="0" presStyleCnt="0"/>
      <dgm:spPr/>
    </dgm:pt>
    <dgm:pt modelId="{2859A2DD-E9BA-47AF-AA9B-6FA676AF0567}" type="pres">
      <dgm:prSet presAssocID="{FD1DBDAA-A001-4591-8DE7-1CF832D5998F}" presName="hierChild2" presStyleCnt="0"/>
      <dgm:spPr/>
    </dgm:pt>
    <dgm:pt modelId="{25C2574F-6633-42E9-9DE8-5FC0DBDAE680}" type="pres">
      <dgm:prSet presAssocID="{D7AD2902-6F37-4EB6-B6EC-C1349D73C805}" presName="Name64" presStyleLbl="parChTrans1D2" presStyleIdx="5" presStyleCnt="6"/>
      <dgm:spPr/>
    </dgm:pt>
    <dgm:pt modelId="{91A9D603-466A-43DE-9FD8-208786251578}" type="pres">
      <dgm:prSet presAssocID="{D54A7B4A-DF66-40C0-906F-D4D32F04FB90}" presName="hierRoot2" presStyleCnt="0">
        <dgm:presLayoutVars>
          <dgm:hierBranch val="init"/>
        </dgm:presLayoutVars>
      </dgm:prSet>
      <dgm:spPr/>
    </dgm:pt>
    <dgm:pt modelId="{52F0CA5A-9A48-40E8-AA0C-44FA35337413}" type="pres">
      <dgm:prSet presAssocID="{D54A7B4A-DF66-40C0-906F-D4D32F04FB90}" presName="rootComposite" presStyleCnt="0"/>
      <dgm:spPr/>
    </dgm:pt>
    <dgm:pt modelId="{1E5E492B-8977-4BF8-9DC9-D4782DC096AF}" type="pres">
      <dgm:prSet presAssocID="{D54A7B4A-DF66-40C0-906F-D4D32F04FB90}" presName="rootText" presStyleLbl="node2" presStyleIdx="5" presStyleCnt="6" custScaleX="58758" custScaleY="118202" custLinFactNeighborX="-370" custLinFactNeighborY="-25751">
        <dgm:presLayoutVars>
          <dgm:chPref val="3"/>
        </dgm:presLayoutVars>
      </dgm:prSet>
      <dgm:spPr>
        <a:prstGeom prst="ellipse">
          <a:avLst/>
        </a:prstGeom>
      </dgm:spPr>
    </dgm:pt>
    <dgm:pt modelId="{79FC5B86-667A-48F0-BC3B-753A77B62F21}" type="pres">
      <dgm:prSet presAssocID="{D54A7B4A-DF66-40C0-906F-D4D32F04FB90}" presName="rootConnector" presStyleLbl="node2" presStyleIdx="5" presStyleCnt="6"/>
      <dgm:spPr/>
    </dgm:pt>
    <dgm:pt modelId="{C3FABB16-6986-477C-85AC-837CF6E36880}" type="pres">
      <dgm:prSet presAssocID="{D54A7B4A-DF66-40C0-906F-D4D32F04FB90}" presName="hierChild4" presStyleCnt="0"/>
      <dgm:spPr/>
    </dgm:pt>
    <dgm:pt modelId="{6D803701-C068-41F9-A6E9-21BD3565B757}" type="pres">
      <dgm:prSet presAssocID="{D54A7B4A-DF66-40C0-906F-D4D32F04FB90}" presName="hierChild5" presStyleCnt="0"/>
      <dgm:spPr/>
    </dgm:pt>
    <dgm:pt modelId="{28492763-9DB5-4240-8B04-43476765A33E}" type="pres">
      <dgm:prSet presAssocID="{FD1DBDAA-A001-4591-8DE7-1CF832D5998F}" presName="hierChild3" presStyleCnt="0"/>
      <dgm:spPr/>
    </dgm:pt>
  </dgm:ptLst>
  <dgm:cxnLst>
    <dgm:cxn modelId="{B47BA601-FDE9-4382-B85E-036FF58CA54D}" type="presOf" srcId="{3935ABD3-BCEB-4366-8068-AF4AC2EC6F86}" destId="{E5C0F204-0BA5-475D-BA78-58C4F5296014}" srcOrd="0" destOrd="0" presId="urn:microsoft.com/office/officeart/2009/3/layout/HorizontalOrganizationChart"/>
    <dgm:cxn modelId="{45928109-5941-49F5-9DF9-C93DC93D3B74}" type="presOf" srcId="{08EED27D-B691-455A-8D11-8D4400592106}" destId="{CA82278E-F451-4EA7-A79E-93E1B57BBB1F}" srcOrd="0" destOrd="0" presId="urn:microsoft.com/office/officeart/2009/3/layout/HorizontalOrganizationChart"/>
    <dgm:cxn modelId="{EE13A909-907D-4145-84FA-357253DC43FE}" type="presOf" srcId="{181337CE-57D4-4E7A-A05B-60A37E2377AA}" destId="{07A69A87-9540-482A-9996-68EA3C7E714E}" srcOrd="1" destOrd="0" presId="urn:microsoft.com/office/officeart/2009/3/layout/HorizontalOrganizationChart"/>
    <dgm:cxn modelId="{3F98450E-CE74-402F-B147-B71B24C6FB18}" srcId="{0602ED7E-9C90-492C-B953-EE44638FBB95}" destId="{AD6FBD3B-8A7D-4317-BB75-D2A9592FB8BE}" srcOrd="0" destOrd="0" parTransId="{1DF9E748-BE9E-4485-997D-1484062506CD}" sibTransId="{791C9EC4-B42B-4F06-BD72-5A1377A347A4}"/>
    <dgm:cxn modelId="{A464C615-08A4-4308-9D31-176CD272EFC4}" srcId="{6C071D51-77B8-4EFD-9FB6-FCEF2ADC1246}" destId="{0602ED7E-9C90-492C-B953-EE44638FBB95}" srcOrd="0" destOrd="0" parTransId="{E5F8A749-E885-42C9-B9EE-5E6294529BB1}" sibTransId="{8CBAE86F-2481-427D-A7BB-5410C2C474AF}"/>
    <dgm:cxn modelId="{D35A7518-0072-4221-9867-FBFE00A0D2B6}" srcId="{DD0D810A-461B-43AB-9074-9E97C0408D20}" destId="{374E3B40-BBBE-480A-AFB4-88D490633E79}" srcOrd="2" destOrd="0" parTransId="{7CD24F9D-E1BB-408F-AAA9-2DE54AABDB4B}" sibTransId="{3C2134FB-03F5-408F-A3E8-366E7D03A159}"/>
    <dgm:cxn modelId="{4A37CF1F-B5FE-47DA-AAD4-F70D092C48F6}" type="presOf" srcId="{AD6FBD3B-8A7D-4317-BB75-D2A9592FB8BE}" destId="{185F49BA-0FB4-494E-888E-7DA48969E1D5}" srcOrd="0" destOrd="0" presId="urn:microsoft.com/office/officeart/2009/3/layout/HorizontalOrganizationChart"/>
    <dgm:cxn modelId="{75C14522-9318-4D7B-B0EF-8BC03ABCAA9B}" type="presOf" srcId="{A20406A2-2D7C-4A2D-8277-F2D7CFFC3989}" destId="{13B287E4-143C-46B8-BB97-EE4AB23BB594}" srcOrd="0" destOrd="0" presId="urn:microsoft.com/office/officeart/2009/3/layout/HorizontalOrganizationChart"/>
    <dgm:cxn modelId="{F9709222-3B26-4D14-B679-9502194FAD2F}" type="presOf" srcId="{5CC210C8-5E6E-48F0-8FD0-6A866839FB6B}" destId="{819DBB63-9FFA-4E43-A6FD-4C64089534ED}" srcOrd="0" destOrd="0" presId="urn:microsoft.com/office/officeart/2009/3/layout/HorizontalOrganizationChart"/>
    <dgm:cxn modelId="{D66B2423-EA40-4AD3-8D39-8A788F41731C}" srcId="{DD0D810A-461B-43AB-9074-9E97C0408D20}" destId="{A0160691-C5F9-44B8-9B17-16C16C30252D}" srcOrd="1" destOrd="0" parTransId="{7C1C211D-DF08-4FA2-A593-3F78C8D74D1E}" sibTransId="{7CA754DD-BCA3-484D-948A-4898820E12A5}"/>
    <dgm:cxn modelId="{9B832124-2325-48B2-927F-0A059BEC57C6}" type="presOf" srcId="{95C081EA-E623-4650-8D9D-F9DDE315F8E5}" destId="{0EE0040A-1396-415B-8C01-1232BE958866}" srcOrd="0" destOrd="0" presId="urn:microsoft.com/office/officeart/2009/3/layout/HorizontalOrganizationChart"/>
    <dgm:cxn modelId="{D3A2E22A-915E-439D-9DBE-B4D6BF15E285}" srcId="{DD0D810A-461B-43AB-9074-9E97C0408D20}" destId="{FD1DBDAA-A001-4591-8DE7-1CF832D5998F}" srcOrd="5" destOrd="0" parTransId="{455A81A8-DB9B-495F-A246-9BBAD335F952}" sibTransId="{B88F5D7E-1B87-474F-BD16-1E52448760E8}"/>
    <dgm:cxn modelId="{685DE02B-9653-48D6-BBC7-6CCA762C122F}" type="presOf" srcId="{08EED27D-B691-455A-8D11-8D4400592106}" destId="{34623623-3BE4-45CF-BD25-CAAB9AF090E9}" srcOrd="1" destOrd="0" presId="urn:microsoft.com/office/officeart/2009/3/layout/HorizontalOrganizationChart"/>
    <dgm:cxn modelId="{9C41A62D-5EEE-49A1-BE9C-FECF022CA241}" type="presOf" srcId="{F777E9C7-1812-46A8-9B44-36F638B989E3}" destId="{138DA514-4305-4324-9DD8-A4E5D22470C0}" srcOrd="0" destOrd="0" presId="urn:microsoft.com/office/officeart/2009/3/layout/HorizontalOrganizationChart"/>
    <dgm:cxn modelId="{43724D2E-D0D7-4B97-9FEB-896148F79B59}" type="presOf" srcId="{FD1DBDAA-A001-4591-8DE7-1CF832D5998F}" destId="{33967DC3-621D-400D-945C-99F4F4EA2AAA}" srcOrd="1" destOrd="0" presId="urn:microsoft.com/office/officeart/2009/3/layout/HorizontalOrganizationChart"/>
    <dgm:cxn modelId="{58B57433-AA15-43F8-AEF6-4FAC92D80575}" type="presOf" srcId="{85023C2C-452D-4AC9-A6FA-0F9D7138C59C}" destId="{CFC18B94-4FBA-47CD-ABD6-749462FCC69A}" srcOrd="1" destOrd="0" presId="urn:microsoft.com/office/officeart/2009/3/layout/HorizontalOrganizationChart"/>
    <dgm:cxn modelId="{03D9E335-5749-4E4E-BAB8-BA8E7FB6125B}" type="presOf" srcId="{EF3D876D-3EE3-4D07-AAFA-45A65E67153D}" destId="{3F481A9A-E90C-4996-961E-95AB6F4713AE}" srcOrd="0" destOrd="0" presId="urn:microsoft.com/office/officeart/2009/3/layout/HorizontalOrganizationChart"/>
    <dgm:cxn modelId="{8E696739-4710-409E-9F6A-6415847D2AA7}" srcId="{FD1DBDAA-A001-4591-8DE7-1CF832D5998F}" destId="{D54A7B4A-DF66-40C0-906F-D4D32F04FB90}" srcOrd="0" destOrd="0" parTransId="{D7AD2902-6F37-4EB6-B6EC-C1349D73C805}" sibTransId="{7D804DBF-C5C2-48B4-A128-81D9E02AE9AB}"/>
    <dgm:cxn modelId="{C6A3A35F-01C2-4AA9-8760-11C706BC363A}" type="presOf" srcId="{181337CE-57D4-4E7A-A05B-60A37E2377AA}" destId="{B8AA2A11-64AA-4FE4-9F64-0E4D555198E6}" srcOrd="0" destOrd="0" presId="urn:microsoft.com/office/officeart/2009/3/layout/HorizontalOrganizationChart"/>
    <dgm:cxn modelId="{2F225B60-A61C-4949-AF54-CA4FC78AB1CC}" type="presOf" srcId="{BC42BC40-0016-4436-879E-4DDC17E681D8}" destId="{9484AD96-A6D5-4748-969C-E4B92A970937}" srcOrd="0" destOrd="0" presId="urn:microsoft.com/office/officeart/2009/3/layout/HorizontalOrganizationChart"/>
    <dgm:cxn modelId="{BB02C561-4E1C-4C0A-809D-8371A3D55073}" type="presOf" srcId="{85023C2C-452D-4AC9-A6FA-0F9D7138C59C}" destId="{66F839EA-1216-4387-BF5F-361D2D94650D}" srcOrd="0" destOrd="0" presId="urn:microsoft.com/office/officeart/2009/3/layout/HorizontalOrganizationChart"/>
    <dgm:cxn modelId="{EBE49243-C8C2-4B4B-A472-1FF5446D4E89}" type="presOf" srcId="{374E3B40-BBBE-480A-AFB4-88D490633E79}" destId="{9FC8182C-B293-4C29-819C-5B43DEE42D86}" srcOrd="0" destOrd="0" presId="urn:microsoft.com/office/officeart/2009/3/layout/HorizontalOrganizationChart"/>
    <dgm:cxn modelId="{34310F64-4E48-4308-BE51-BFDDCE09909A}" srcId="{85023C2C-452D-4AC9-A6FA-0F9D7138C59C}" destId="{4E5FFA0C-6510-4201-A7B1-ABD5AEF2D97A}" srcOrd="0" destOrd="0" parTransId="{BC42BC40-0016-4436-879E-4DDC17E681D8}" sibTransId="{012D8BD1-3B16-42B8-AD19-91B1BF069CC4}"/>
    <dgm:cxn modelId="{9BF4C147-5BFD-4D33-A69F-7A0FE77E0B0C}" type="presOf" srcId="{E5F8A749-E885-42C9-B9EE-5E6294529BB1}" destId="{F580550D-7334-4B9E-95B2-51BB673FC8D1}" srcOrd="0" destOrd="0" presId="urn:microsoft.com/office/officeart/2009/3/layout/HorizontalOrganizationChart"/>
    <dgm:cxn modelId="{03C7DA67-45D6-4174-9133-D00882D6C6A5}" type="presOf" srcId="{D54A7B4A-DF66-40C0-906F-D4D32F04FB90}" destId="{79FC5B86-667A-48F0-BC3B-753A77B62F21}" srcOrd="1" destOrd="0" presId="urn:microsoft.com/office/officeart/2009/3/layout/HorizontalOrganizationChart"/>
    <dgm:cxn modelId="{37262148-BB0F-4AAE-93EB-D71C43F7ABA1}" srcId="{374E3B40-BBBE-480A-AFB4-88D490633E79}" destId="{EF3D876D-3EE3-4D07-AAFA-45A65E67153D}" srcOrd="0" destOrd="0" parTransId="{6E609385-C993-4BC2-9C17-F960FE135F9E}" sibTransId="{4FECF614-695B-4D39-A080-4F84C9ACE92B}"/>
    <dgm:cxn modelId="{B4F48D4E-8110-4BD6-BD84-25705C354BBB}" type="presOf" srcId="{95C081EA-E623-4650-8D9D-F9DDE315F8E5}" destId="{86C0B054-993D-4151-9D3E-C2A00B395E81}" srcOrd="1" destOrd="0" presId="urn:microsoft.com/office/officeart/2009/3/layout/HorizontalOrganizationChart"/>
    <dgm:cxn modelId="{8425C450-F63F-45F8-90B0-C94C407470F2}" type="presOf" srcId="{4E5FFA0C-6510-4201-A7B1-ABD5AEF2D97A}" destId="{20E39DE7-734B-43EE-83E1-5DA2E5DB6F29}" srcOrd="0" destOrd="0" presId="urn:microsoft.com/office/officeart/2009/3/layout/HorizontalOrganizationChart"/>
    <dgm:cxn modelId="{B457AE71-D7D2-4B8E-A6E1-8F36DE30FEBC}" type="presOf" srcId="{A0160691-C5F9-44B8-9B17-16C16C30252D}" destId="{E0713CEF-0EB2-4330-9243-6E22FB263EAB}" srcOrd="1" destOrd="0" presId="urn:microsoft.com/office/officeart/2009/3/layout/HorizontalOrganizationChart"/>
    <dgm:cxn modelId="{12CA5972-27BD-417D-82C0-DD724D486A5C}" type="presOf" srcId="{6C071D51-77B8-4EFD-9FB6-FCEF2ADC1246}" destId="{34B92687-26AF-45EB-AA9C-D562FD3F5B8B}" srcOrd="0" destOrd="0" presId="urn:microsoft.com/office/officeart/2009/3/layout/HorizontalOrganizationChart"/>
    <dgm:cxn modelId="{79F5CE77-127E-4DD8-AE68-919A517E5479}" type="presOf" srcId="{374E3B40-BBBE-480A-AFB4-88D490633E79}" destId="{9F0BEDB9-7DCE-4904-9629-127EC139FFBD}" srcOrd="1" destOrd="0" presId="urn:microsoft.com/office/officeart/2009/3/layout/HorizontalOrganizationChart"/>
    <dgm:cxn modelId="{32E3DD57-79FF-4B0E-9D20-ABCE1770469B}" type="presOf" srcId="{25689892-4E7D-40AA-A673-4C1F0CF0FA5A}" destId="{51A2BFE9-2CCD-44C6-9C5D-AA2D7B94BF08}" srcOrd="1" destOrd="0" presId="urn:microsoft.com/office/officeart/2009/3/layout/HorizontalOrganizationChart"/>
    <dgm:cxn modelId="{BA3E2059-0B31-4157-AA35-6B76F0582610}" type="presOf" srcId="{B56C1068-89F2-4261-94F2-98377A59CF83}" destId="{1D238B17-4702-4BC2-BE36-EB12789119F6}" srcOrd="0" destOrd="0" presId="urn:microsoft.com/office/officeart/2009/3/layout/HorizontalOrganizationChart"/>
    <dgm:cxn modelId="{A3E0D77B-92AD-41E4-BB1F-C2EA4EE394E1}" type="presOf" srcId="{D54A7B4A-DF66-40C0-906F-D4D32F04FB90}" destId="{1E5E492B-8977-4BF8-9DC9-D4782DC096AF}" srcOrd="0" destOrd="0" presId="urn:microsoft.com/office/officeart/2009/3/layout/HorizontalOrganizationChart"/>
    <dgm:cxn modelId="{1F135081-99B2-499E-AF49-E1B383697C50}" srcId="{25689892-4E7D-40AA-A673-4C1F0CF0FA5A}" destId="{95C081EA-E623-4650-8D9D-F9DDE315F8E5}" srcOrd="0" destOrd="0" parTransId="{B56C1068-89F2-4261-94F2-98377A59CF83}" sibTransId="{0854C3F3-3B12-44C3-A3C2-FF2A3971B0EA}"/>
    <dgm:cxn modelId="{34485087-B5E1-4C7C-A12D-6E4193B5890D}" srcId="{A0160691-C5F9-44B8-9B17-16C16C30252D}" destId="{181337CE-57D4-4E7A-A05B-60A37E2377AA}" srcOrd="0" destOrd="0" parTransId="{3935ABD3-BCEB-4366-8068-AF4AC2EC6F86}" sibTransId="{DD97806B-124E-472F-8B3E-E5D1562EC24B}"/>
    <dgm:cxn modelId="{A3225DBE-FBF4-4CA6-9910-43E74A7EDDCD}" srcId="{DD0D810A-461B-43AB-9074-9E97C0408D20}" destId="{08EED27D-B691-455A-8D11-8D4400592106}" srcOrd="0" destOrd="0" parTransId="{1BD718C0-8E31-4C02-8936-3DC9E7EB711A}" sibTransId="{7B5F34EC-77F8-4B43-BB2C-33BBF5B01984}"/>
    <dgm:cxn modelId="{06AA19BF-279A-4678-8A18-94CF30CBAC6D}" srcId="{DD0D810A-461B-43AB-9074-9E97C0408D20}" destId="{6C071D51-77B8-4EFD-9FB6-FCEF2ADC1246}" srcOrd="4" destOrd="0" parTransId="{67CD13A7-670A-494B-802B-0388262AD6E5}" sibTransId="{8C6DB17C-256F-4FB2-AE9B-B54A9AB67051}"/>
    <dgm:cxn modelId="{08C03AC3-FB42-491A-8AC3-DAA93AE19A3F}" srcId="{DD0D810A-461B-43AB-9074-9E97C0408D20}" destId="{85023C2C-452D-4AC9-A6FA-0F9D7138C59C}" srcOrd="3" destOrd="0" parTransId="{33B9A337-283C-49FE-8E6D-A95BFD1E8030}" sibTransId="{4DC8FC01-4200-4F98-B421-C3BD31407BFE}"/>
    <dgm:cxn modelId="{106FAFC8-E25A-4D1A-8D02-3DC2D3F9C618}" type="presOf" srcId="{AD6FBD3B-8A7D-4317-BB75-D2A9592FB8BE}" destId="{B807D448-C164-41F3-952C-4662C5DAB639}" srcOrd="1" destOrd="0" presId="urn:microsoft.com/office/officeart/2009/3/layout/HorizontalOrganizationChart"/>
    <dgm:cxn modelId="{AFC7D7CC-CFAA-4B48-A075-B38022B0F1BD}" type="presOf" srcId="{DD0D810A-461B-43AB-9074-9E97C0408D20}" destId="{5AF7821A-E4E4-49F2-8CDD-D8E21E18D6E7}" srcOrd="0" destOrd="0" presId="urn:microsoft.com/office/officeart/2009/3/layout/HorizontalOrganizationChart"/>
    <dgm:cxn modelId="{C5DB3FD4-E437-496F-8183-1D3437D1DF46}" type="presOf" srcId="{6E609385-C993-4BC2-9C17-F960FE135F9E}" destId="{8FC2B97D-DB59-4737-9207-C815A23BF65E}" srcOrd="0" destOrd="0" presId="urn:microsoft.com/office/officeart/2009/3/layout/HorizontalOrganizationChart"/>
    <dgm:cxn modelId="{F0341BD8-469F-4A6C-83F6-86DEA6671799}" srcId="{08EED27D-B691-455A-8D11-8D4400592106}" destId="{25689892-4E7D-40AA-A673-4C1F0CF0FA5A}" srcOrd="0" destOrd="0" parTransId="{F777E9C7-1812-46A8-9B44-36F638B989E3}" sibTransId="{32D3F911-C848-4633-AE9B-C684A3E2D4A0}"/>
    <dgm:cxn modelId="{8A4A58D9-D39C-40A8-AF05-F7FD48C22C5F}" type="presOf" srcId="{D7AD2902-6F37-4EB6-B6EC-C1349D73C805}" destId="{25C2574F-6633-42E9-9DE8-5FC0DBDAE680}" srcOrd="0" destOrd="0" presId="urn:microsoft.com/office/officeart/2009/3/layout/HorizontalOrganizationChart"/>
    <dgm:cxn modelId="{0EF28BDF-948C-4DC7-8902-CB6E33709896}" type="presOf" srcId="{4E5FFA0C-6510-4201-A7B1-ABD5AEF2D97A}" destId="{6F1015F1-923E-445D-9DC0-CC0AADDA21B0}" srcOrd="1" destOrd="0" presId="urn:microsoft.com/office/officeart/2009/3/layout/HorizontalOrganizationChart"/>
    <dgm:cxn modelId="{CE8DA1E1-24EF-4622-9CA6-71A30989BFA9}" type="presOf" srcId="{0602ED7E-9C90-492C-B953-EE44638FBB95}" destId="{791FDAA3-E3B9-44A0-A506-C5A7896959A9}" srcOrd="1" destOrd="0" presId="urn:microsoft.com/office/officeart/2009/3/layout/HorizontalOrganizationChart"/>
    <dgm:cxn modelId="{4A3268E3-64F2-4A33-A18B-043C79AFD38D}" type="presOf" srcId="{6C071D51-77B8-4EFD-9FB6-FCEF2ADC1246}" destId="{10904998-4AC3-4226-96FF-4468A42FBDAE}" srcOrd="1" destOrd="0" presId="urn:microsoft.com/office/officeart/2009/3/layout/HorizontalOrganizationChart"/>
    <dgm:cxn modelId="{E41F74E4-0B63-405A-8969-733B43908D94}" type="presOf" srcId="{5CC210C8-5E6E-48F0-8FD0-6A866839FB6B}" destId="{61996124-B121-4C46-839E-B33748350A1C}" srcOrd="1" destOrd="0" presId="urn:microsoft.com/office/officeart/2009/3/layout/HorizontalOrganizationChart"/>
    <dgm:cxn modelId="{3BBD0EEA-28F9-4502-A465-14FAE369CCD6}" type="presOf" srcId="{25689892-4E7D-40AA-A673-4C1F0CF0FA5A}" destId="{D4AD3584-CCC7-4C5D-BA2B-08F7C45B2342}" srcOrd="0" destOrd="0" presId="urn:microsoft.com/office/officeart/2009/3/layout/HorizontalOrganizationChart"/>
    <dgm:cxn modelId="{BEE019EA-D7F5-4195-926B-187A8AD559A4}" type="presOf" srcId="{A0160691-C5F9-44B8-9B17-16C16C30252D}" destId="{EBCCF8B9-6E13-4F0A-BE2A-F8631A1C1FC2}" srcOrd="0" destOrd="0" presId="urn:microsoft.com/office/officeart/2009/3/layout/HorizontalOrganizationChart"/>
    <dgm:cxn modelId="{818565EA-FBF6-4389-A756-E91048236680}" type="presOf" srcId="{EF3D876D-3EE3-4D07-AAFA-45A65E67153D}" destId="{F8C2BD55-4131-46B1-9C8F-F2A0FB0317A4}" srcOrd="1" destOrd="0" presId="urn:microsoft.com/office/officeart/2009/3/layout/HorizontalOrganizationChart"/>
    <dgm:cxn modelId="{33384AEB-0406-4B87-9234-02E52F5713AD}" type="presOf" srcId="{1DF9E748-BE9E-4485-997D-1484062506CD}" destId="{88CBFC17-B32F-40BB-A01F-845BE2F3B3D2}" srcOrd="0" destOrd="0" presId="urn:microsoft.com/office/officeart/2009/3/layout/HorizontalOrganizationChart"/>
    <dgm:cxn modelId="{A480EAF6-018B-49B5-AFA2-7A13090716A4}" type="presOf" srcId="{0602ED7E-9C90-492C-B953-EE44638FBB95}" destId="{4DA49A07-9EA0-48E0-9D38-EEBB3D0A0EA8}" srcOrd="0" destOrd="0" presId="urn:microsoft.com/office/officeart/2009/3/layout/HorizontalOrganizationChart"/>
    <dgm:cxn modelId="{6D197EFA-E970-4CA7-BFDB-12014368DE9A}" srcId="{EF3D876D-3EE3-4D07-AAFA-45A65E67153D}" destId="{5CC210C8-5E6E-48F0-8FD0-6A866839FB6B}" srcOrd="0" destOrd="0" parTransId="{A20406A2-2D7C-4A2D-8277-F2D7CFFC3989}" sibTransId="{C531265A-64F9-4D92-A7AB-716575731EBF}"/>
    <dgm:cxn modelId="{2E0482FE-B567-40D2-8E2E-8A19285D609D}" type="presOf" srcId="{FD1DBDAA-A001-4591-8DE7-1CF832D5998F}" destId="{1493CCFF-D6F7-4055-977E-E02F35F1D3DE}" srcOrd="0" destOrd="0" presId="urn:microsoft.com/office/officeart/2009/3/layout/HorizontalOrganizationChart"/>
    <dgm:cxn modelId="{5C07E955-CC1D-4A49-A566-F7E286BB0BD2}" type="presParOf" srcId="{5AF7821A-E4E4-49F2-8CDD-D8E21E18D6E7}" destId="{80C2B7DA-1707-47D2-8EFC-5288AE8913B6}" srcOrd="0" destOrd="0" presId="urn:microsoft.com/office/officeart/2009/3/layout/HorizontalOrganizationChart"/>
    <dgm:cxn modelId="{648126D3-E24F-475E-90E5-60ED88613809}" type="presParOf" srcId="{80C2B7DA-1707-47D2-8EFC-5288AE8913B6}" destId="{6175FF66-8DB8-481C-B9D3-3EA8A4149F44}" srcOrd="0" destOrd="0" presId="urn:microsoft.com/office/officeart/2009/3/layout/HorizontalOrganizationChart"/>
    <dgm:cxn modelId="{9FE8A7DF-9B54-4DAF-A2DD-F7F22CC7CEEF}" type="presParOf" srcId="{6175FF66-8DB8-481C-B9D3-3EA8A4149F44}" destId="{CA82278E-F451-4EA7-A79E-93E1B57BBB1F}" srcOrd="0" destOrd="0" presId="urn:microsoft.com/office/officeart/2009/3/layout/HorizontalOrganizationChart"/>
    <dgm:cxn modelId="{18C8EFF4-C606-4531-AFE1-A77F1157D2EF}" type="presParOf" srcId="{6175FF66-8DB8-481C-B9D3-3EA8A4149F44}" destId="{34623623-3BE4-45CF-BD25-CAAB9AF090E9}" srcOrd="1" destOrd="0" presId="urn:microsoft.com/office/officeart/2009/3/layout/HorizontalOrganizationChart"/>
    <dgm:cxn modelId="{DEB74360-CEEE-42EC-9F92-78BD7241E9F0}" type="presParOf" srcId="{80C2B7DA-1707-47D2-8EFC-5288AE8913B6}" destId="{967DC226-F180-4127-893E-63135C92783A}" srcOrd="1" destOrd="0" presId="urn:microsoft.com/office/officeart/2009/3/layout/HorizontalOrganizationChart"/>
    <dgm:cxn modelId="{BFD3BF66-1BE5-445B-9982-2580BF4C58AB}" type="presParOf" srcId="{967DC226-F180-4127-893E-63135C92783A}" destId="{138DA514-4305-4324-9DD8-A4E5D22470C0}" srcOrd="0" destOrd="0" presId="urn:microsoft.com/office/officeart/2009/3/layout/HorizontalOrganizationChart"/>
    <dgm:cxn modelId="{1866D201-D339-4A7B-9981-3F311F00A7D4}" type="presParOf" srcId="{967DC226-F180-4127-893E-63135C92783A}" destId="{A529037C-7282-41BC-829D-90E41CBB3114}" srcOrd="1" destOrd="0" presId="urn:microsoft.com/office/officeart/2009/3/layout/HorizontalOrganizationChart"/>
    <dgm:cxn modelId="{B271F781-65AF-457B-9E91-5E933E1C6E14}" type="presParOf" srcId="{A529037C-7282-41BC-829D-90E41CBB3114}" destId="{C8B28FF1-0151-406F-9BD0-E3B77F05369F}" srcOrd="0" destOrd="0" presId="urn:microsoft.com/office/officeart/2009/3/layout/HorizontalOrganizationChart"/>
    <dgm:cxn modelId="{AB049D73-4259-4103-8CDC-EE057ED7F861}" type="presParOf" srcId="{C8B28FF1-0151-406F-9BD0-E3B77F05369F}" destId="{D4AD3584-CCC7-4C5D-BA2B-08F7C45B2342}" srcOrd="0" destOrd="0" presId="urn:microsoft.com/office/officeart/2009/3/layout/HorizontalOrganizationChart"/>
    <dgm:cxn modelId="{50097E75-DABA-481E-9C6B-D944860E8C44}" type="presParOf" srcId="{C8B28FF1-0151-406F-9BD0-E3B77F05369F}" destId="{51A2BFE9-2CCD-44C6-9C5D-AA2D7B94BF08}" srcOrd="1" destOrd="0" presId="urn:microsoft.com/office/officeart/2009/3/layout/HorizontalOrganizationChart"/>
    <dgm:cxn modelId="{D4334D0D-9A0D-436F-ABEB-F10DF25082B8}" type="presParOf" srcId="{A529037C-7282-41BC-829D-90E41CBB3114}" destId="{ABD2552C-D71B-4C5F-AD9C-234A9D45F0AB}" srcOrd="1" destOrd="0" presId="urn:microsoft.com/office/officeart/2009/3/layout/HorizontalOrganizationChart"/>
    <dgm:cxn modelId="{B0CA9578-0E76-4EE9-8201-451423C9DCD9}" type="presParOf" srcId="{ABD2552C-D71B-4C5F-AD9C-234A9D45F0AB}" destId="{1D238B17-4702-4BC2-BE36-EB12789119F6}" srcOrd="0" destOrd="0" presId="urn:microsoft.com/office/officeart/2009/3/layout/HorizontalOrganizationChart"/>
    <dgm:cxn modelId="{CE05577D-64D7-43C8-8E2A-1328E1F41034}" type="presParOf" srcId="{ABD2552C-D71B-4C5F-AD9C-234A9D45F0AB}" destId="{004F2797-0A35-4803-A8F6-A10C3F438A71}" srcOrd="1" destOrd="0" presId="urn:microsoft.com/office/officeart/2009/3/layout/HorizontalOrganizationChart"/>
    <dgm:cxn modelId="{4F72B256-C261-408D-A61C-58555DFC5B1F}" type="presParOf" srcId="{004F2797-0A35-4803-A8F6-A10C3F438A71}" destId="{177DA025-CC0E-40EB-81C5-DD183799493A}" srcOrd="0" destOrd="0" presId="urn:microsoft.com/office/officeart/2009/3/layout/HorizontalOrganizationChart"/>
    <dgm:cxn modelId="{C7DA65AF-F8AA-4008-B942-5BACA258F626}" type="presParOf" srcId="{177DA025-CC0E-40EB-81C5-DD183799493A}" destId="{0EE0040A-1396-415B-8C01-1232BE958866}" srcOrd="0" destOrd="0" presId="urn:microsoft.com/office/officeart/2009/3/layout/HorizontalOrganizationChart"/>
    <dgm:cxn modelId="{C4B1C674-71AB-4A90-B606-856022FE884D}" type="presParOf" srcId="{177DA025-CC0E-40EB-81C5-DD183799493A}" destId="{86C0B054-993D-4151-9D3E-C2A00B395E81}" srcOrd="1" destOrd="0" presId="urn:microsoft.com/office/officeart/2009/3/layout/HorizontalOrganizationChart"/>
    <dgm:cxn modelId="{7C7C4ADA-C0BF-4ACB-B690-32D51A29A260}" type="presParOf" srcId="{004F2797-0A35-4803-A8F6-A10C3F438A71}" destId="{EBB6F584-BB2C-455C-8241-A86734C8CD05}" srcOrd="1" destOrd="0" presId="urn:microsoft.com/office/officeart/2009/3/layout/HorizontalOrganizationChart"/>
    <dgm:cxn modelId="{682B0120-FB63-4F41-B063-6751F9370B8A}" type="presParOf" srcId="{004F2797-0A35-4803-A8F6-A10C3F438A71}" destId="{52201E78-AF28-46F4-909E-5B63B07F75CF}" srcOrd="2" destOrd="0" presId="urn:microsoft.com/office/officeart/2009/3/layout/HorizontalOrganizationChart"/>
    <dgm:cxn modelId="{8EC7C8C7-A48B-4B73-9C0C-39DF9B1EE28F}" type="presParOf" srcId="{A529037C-7282-41BC-829D-90E41CBB3114}" destId="{50E30CAA-BFDE-437B-B60D-77B70AB889E5}" srcOrd="2" destOrd="0" presId="urn:microsoft.com/office/officeart/2009/3/layout/HorizontalOrganizationChart"/>
    <dgm:cxn modelId="{5B8E61ED-0525-4427-9A00-84F2B56C26AA}" type="presParOf" srcId="{80C2B7DA-1707-47D2-8EFC-5288AE8913B6}" destId="{CE207384-9C5C-42F5-AA42-3083E271C6CA}" srcOrd="2" destOrd="0" presId="urn:microsoft.com/office/officeart/2009/3/layout/HorizontalOrganizationChart"/>
    <dgm:cxn modelId="{7DA8BB66-DBF8-4BC6-91EE-56FB544217C0}" type="presParOf" srcId="{5AF7821A-E4E4-49F2-8CDD-D8E21E18D6E7}" destId="{4BD177F1-71A5-42DC-ADD4-97EB642BC6F7}" srcOrd="1" destOrd="0" presId="urn:microsoft.com/office/officeart/2009/3/layout/HorizontalOrganizationChart"/>
    <dgm:cxn modelId="{59E2AFAE-D9BA-4691-8121-50C7AAACE970}" type="presParOf" srcId="{4BD177F1-71A5-42DC-ADD4-97EB642BC6F7}" destId="{46DA27E1-06FD-4F4A-A9DF-3CD32D763FE7}" srcOrd="0" destOrd="0" presId="urn:microsoft.com/office/officeart/2009/3/layout/HorizontalOrganizationChart"/>
    <dgm:cxn modelId="{4DF70F07-EA20-4DE5-8D87-71C9FA265874}" type="presParOf" srcId="{46DA27E1-06FD-4F4A-A9DF-3CD32D763FE7}" destId="{EBCCF8B9-6E13-4F0A-BE2A-F8631A1C1FC2}" srcOrd="0" destOrd="0" presId="urn:microsoft.com/office/officeart/2009/3/layout/HorizontalOrganizationChart"/>
    <dgm:cxn modelId="{C2BDE4E7-39A5-464B-B5AD-EF2B5DD0B3ED}" type="presParOf" srcId="{46DA27E1-06FD-4F4A-A9DF-3CD32D763FE7}" destId="{E0713CEF-0EB2-4330-9243-6E22FB263EAB}" srcOrd="1" destOrd="0" presId="urn:microsoft.com/office/officeart/2009/3/layout/HorizontalOrganizationChart"/>
    <dgm:cxn modelId="{02634B83-72A1-411C-AEE1-C8DF188526E6}" type="presParOf" srcId="{4BD177F1-71A5-42DC-ADD4-97EB642BC6F7}" destId="{C1664349-10AB-46D2-94A6-63717898D71D}" srcOrd="1" destOrd="0" presId="urn:microsoft.com/office/officeart/2009/3/layout/HorizontalOrganizationChart"/>
    <dgm:cxn modelId="{DE658306-53A1-4382-8C2C-D19917E0BA6D}" type="presParOf" srcId="{C1664349-10AB-46D2-94A6-63717898D71D}" destId="{E5C0F204-0BA5-475D-BA78-58C4F5296014}" srcOrd="0" destOrd="0" presId="urn:microsoft.com/office/officeart/2009/3/layout/HorizontalOrganizationChart"/>
    <dgm:cxn modelId="{12DCAB02-1B56-4EA0-B0E9-77A4E0407C2D}" type="presParOf" srcId="{C1664349-10AB-46D2-94A6-63717898D71D}" destId="{290712CB-1DDF-4D68-9E5C-7197A0534851}" srcOrd="1" destOrd="0" presId="urn:microsoft.com/office/officeart/2009/3/layout/HorizontalOrganizationChart"/>
    <dgm:cxn modelId="{9B3F171B-E7F1-4B8F-8F9D-467A81E036EF}" type="presParOf" srcId="{290712CB-1DDF-4D68-9E5C-7197A0534851}" destId="{2E93130A-9444-4D53-BD77-CAA218240F42}" srcOrd="0" destOrd="0" presId="urn:microsoft.com/office/officeart/2009/3/layout/HorizontalOrganizationChart"/>
    <dgm:cxn modelId="{FC9435BF-C60B-4891-903F-2BF2AD80E7FF}" type="presParOf" srcId="{2E93130A-9444-4D53-BD77-CAA218240F42}" destId="{B8AA2A11-64AA-4FE4-9F64-0E4D555198E6}" srcOrd="0" destOrd="0" presId="urn:microsoft.com/office/officeart/2009/3/layout/HorizontalOrganizationChart"/>
    <dgm:cxn modelId="{EE0CF2DA-1C19-4169-9B78-D597A8F7FA75}" type="presParOf" srcId="{2E93130A-9444-4D53-BD77-CAA218240F42}" destId="{07A69A87-9540-482A-9996-68EA3C7E714E}" srcOrd="1" destOrd="0" presId="urn:microsoft.com/office/officeart/2009/3/layout/HorizontalOrganizationChart"/>
    <dgm:cxn modelId="{CBEEDDB0-82D5-47DE-A17F-EC993AAAADD0}" type="presParOf" srcId="{290712CB-1DDF-4D68-9E5C-7197A0534851}" destId="{AA8EFDEF-8FD8-4933-A2B5-75D59B00BEFE}" srcOrd="1" destOrd="0" presId="urn:microsoft.com/office/officeart/2009/3/layout/HorizontalOrganizationChart"/>
    <dgm:cxn modelId="{052F51A9-DCC9-4946-BD78-50D47F0C6223}" type="presParOf" srcId="{290712CB-1DDF-4D68-9E5C-7197A0534851}" destId="{6023BCC4-6DF0-4399-99E0-F319E9304DD8}" srcOrd="2" destOrd="0" presId="urn:microsoft.com/office/officeart/2009/3/layout/HorizontalOrganizationChart"/>
    <dgm:cxn modelId="{0935D567-5E76-4E45-B2B3-E89C606B6F9F}" type="presParOf" srcId="{4BD177F1-71A5-42DC-ADD4-97EB642BC6F7}" destId="{8D9E2A64-42B6-41B5-BBB9-2B0527FD2A03}" srcOrd="2" destOrd="0" presId="urn:microsoft.com/office/officeart/2009/3/layout/HorizontalOrganizationChart"/>
    <dgm:cxn modelId="{927E79B2-C909-421E-9FFF-044917E1592C}" type="presParOf" srcId="{5AF7821A-E4E4-49F2-8CDD-D8E21E18D6E7}" destId="{8B5217B2-D8A9-4406-95CD-193DFB136C0C}" srcOrd="2" destOrd="0" presId="urn:microsoft.com/office/officeart/2009/3/layout/HorizontalOrganizationChart"/>
    <dgm:cxn modelId="{7DF89B72-F578-4219-9C48-08B8CD91A1BB}" type="presParOf" srcId="{8B5217B2-D8A9-4406-95CD-193DFB136C0C}" destId="{96E018EA-A970-4DA3-830B-5B7BB854B367}" srcOrd="0" destOrd="0" presId="urn:microsoft.com/office/officeart/2009/3/layout/HorizontalOrganizationChart"/>
    <dgm:cxn modelId="{3A01CECA-EEFC-42D0-AAB7-1C4A0CC0DC7E}" type="presParOf" srcId="{96E018EA-A970-4DA3-830B-5B7BB854B367}" destId="{9FC8182C-B293-4C29-819C-5B43DEE42D86}" srcOrd="0" destOrd="0" presId="urn:microsoft.com/office/officeart/2009/3/layout/HorizontalOrganizationChart"/>
    <dgm:cxn modelId="{46716CDB-D014-43B0-A583-EBC47D99792F}" type="presParOf" srcId="{96E018EA-A970-4DA3-830B-5B7BB854B367}" destId="{9F0BEDB9-7DCE-4904-9629-127EC139FFBD}" srcOrd="1" destOrd="0" presId="urn:microsoft.com/office/officeart/2009/3/layout/HorizontalOrganizationChart"/>
    <dgm:cxn modelId="{4AA74983-E0F7-43DF-89F9-0914118ACA9C}" type="presParOf" srcId="{8B5217B2-D8A9-4406-95CD-193DFB136C0C}" destId="{A604F5CC-EA0C-465B-AA09-58BA5C447BF1}" srcOrd="1" destOrd="0" presId="urn:microsoft.com/office/officeart/2009/3/layout/HorizontalOrganizationChart"/>
    <dgm:cxn modelId="{0ED5E9DB-5810-493D-89F4-6375C26FF193}" type="presParOf" srcId="{A604F5CC-EA0C-465B-AA09-58BA5C447BF1}" destId="{8FC2B97D-DB59-4737-9207-C815A23BF65E}" srcOrd="0" destOrd="0" presId="urn:microsoft.com/office/officeart/2009/3/layout/HorizontalOrganizationChart"/>
    <dgm:cxn modelId="{89C4EF16-6B15-42E2-A06B-7DE5C90BA893}" type="presParOf" srcId="{A604F5CC-EA0C-465B-AA09-58BA5C447BF1}" destId="{34A0EE78-3DF5-4909-A7B6-15CBCD97511B}" srcOrd="1" destOrd="0" presId="urn:microsoft.com/office/officeart/2009/3/layout/HorizontalOrganizationChart"/>
    <dgm:cxn modelId="{57810C55-24D1-4021-80E6-3A21051E3ACF}" type="presParOf" srcId="{34A0EE78-3DF5-4909-A7B6-15CBCD97511B}" destId="{29389128-715E-4BB8-9030-711F62B0656F}" srcOrd="0" destOrd="0" presId="urn:microsoft.com/office/officeart/2009/3/layout/HorizontalOrganizationChart"/>
    <dgm:cxn modelId="{892E18D8-2A92-486E-80EF-5823CE9470D5}" type="presParOf" srcId="{29389128-715E-4BB8-9030-711F62B0656F}" destId="{3F481A9A-E90C-4996-961E-95AB6F4713AE}" srcOrd="0" destOrd="0" presId="urn:microsoft.com/office/officeart/2009/3/layout/HorizontalOrganizationChart"/>
    <dgm:cxn modelId="{1F14FB1F-823A-47EF-BBF3-6DB791670FDD}" type="presParOf" srcId="{29389128-715E-4BB8-9030-711F62B0656F}" destId="{F8C2BD55-4131-46B1-9C8F-F2A0FB0317A4}" srcOrd="1" destOrd="0" presId="urn:microsoft.com/office/officeart/2009/3/layout/HorizontalOrganizationChart"/>
    <dgm:cxn modelId="{90C57CB7-88FF-4307-A4F1-3D94B977C067}" type="presParOf" srcId="{34A0EE78-3DF5-4909-A7B6-15CBCD97511B}" destId="{89649727-9223-4170-8570-F806B1255349}" srcOrd="1" destOrd="0" presId="urn:microsoft.com/office/officeart/2009/3/layout/HorizontalOrganizationChart"/>
    <dgm:cxn modelId="{D814ADB3-FE54-4573-BF4B-3E15A921EC53}" type="presParOf" srcId="{89649727-9223-4170-8570-F806B1255349}" destId="{13B287E4-143C-46B8-BB97-EE4AB23BB594}" srcOrd="0" destOrd="0" presId="urn:microsoft.com/office/officeart/2009/3/layout/HorizontalOrganizationChart"/>
    <dgm:cxn modelId="{70A6E1BB-6A91-4CF9-B0F0-22A5FE1D3C83}" type="presParOf" srcId="{89649727-9223-4170-8570-F806B1255349}" destId="{167D6D34-8479-49A9-90D8-463019E5D7C4}" srcOrd="1" destOrd="0" presId="urn:microsoft.com/office/officeart/2009/3/layout/HorizontalOrganizationChart"/>
    <dgm:cxn modelId="{7D0DBA42-A7EF-417F-B788-82980E98B837}" type="presParOf" srcId="{167D6D34-8479-49A9-90D8-463019E5D7C4}" destId="{3D41579B-CEFC-4F48-90A9-71177D2BC668}" srcOrd="0" destOrd="0" presId="urn:microsoft.com/office/officeart/2009/3/layout/HorizontalOrganizationChart"/>
    <dgm:cxn modelId="{50B42465-672F-4F21-A285-01B69A58721D}" type="presParOf" srcId="{3D41579B-CEFC-4F48-90A9-71177D2BC668}" destId="{819DBB63-9FFA-4E43-A6FD-4C64089534ED}" srcOrd="0" destOrd="0" presId="urn:microsoft.com/office/officeart/2009/3/layout/HorizontalOrganizationChart"/>
    <dgm:cxn modelId="{79324778-BBB5-46D3-B526-0847AAE4504C}" type="presParOf" srcId="{3D41579B-CEFC-4F48-90A9-71177D2BC668}" destId="{61996124-B121-4C46-839E-B33748350A1C}" srcOrd="1" destOrd="0" presId="urn:microsoft.com/office/officeart/2009/3/layout/HorizontalOrganizationChart"/>
    <dgm:cxn modelId="{E552A4C4-1C9D-4F5A-8A61-5E0439A43F8E}" type="presParOf" srcId="{167D6D34-8479-49A9-90D8-463019E5D7C4}" destId="{54A2FDD9-E01D-4F18-A735-3C0A31DB24C6}" srcOrd="1" destOrd="0" presId="urn:microsoft.com/office/officeart/2009/3/layout/HorizontalOrganizationChart"/>
    <dgm:cxn modelId="{78C2A899-903E-4461-AB01-F719766B1B61}" type="presParOf" srcId="{167D6D34-8479-49A9-90D8-463019E5D7C4}" destId="{A51272A7-807E-45A4-8542-482B290D118F}" srcOrd="2" destOrd="0" presId="urn:microsoft.com/office/officeart/2009/3/layout/HorizontalOrganizationChart"/>
    <dgm:cxn modelId="{CD80E235-0FB3-4ECC-8E7C-375B8247ACDF}" type="presParOf" srcId="{34A0EE78-3DF5-4909-A7B6-15CBCD97511B}" destId="{012871F6-A4FF-4931-B07F-977EBC7CF012}" srcOrd="2" destOrd="0" presId="urn:microsoft.com/office/officeart/2009/3/layout/HorizontalOrganizationChart"/>
    <dgm:cxn modelId="{0FE6E415-17A8-41D0-AEE4-812CD8CFC531}" type="presParOf" srcId="{8B5217B2-D8A9-4406-95CD-193DFB136C0C}" destId="{FE254E6B-1A30-45E9-9FD1-F9E71E9C56CB}" srcOrd="2" destOrd="0" presId="urn:microsoft.com/office/officeart/2009/3/layout/HorizontalOrganizationChart"/>
    <dgm:cxn modelId="{B6C00455-D858-41F6-8E8B-9CD020834FE0}" type="presParOf" srcId="{5AF7821A-E4E4-49F2-8CDD-D8E21E18D6E7}" destId="{DE52C9D7-1C26-4F2C-8884-F0161087CFEC}" srcOrd="3" destOrd="0" presId="urn:microsoft.com/office/officeart/2009/3/layout/HorizontalOrganizationChart"/>
    <dgm:cxn modelId="{6C1CBC11-C9DF-4D6E-8369-F77D802379AA}" type="presParOf" srcId="{DE52C9D7-1C26-4F2C-8884-F0161087CFEC}" destId="{2594697B-A8B0-4DF6-9B4B-C4C147C6BFE4}" srcOrd="0" destOrd="0" presId="urn:microsoft.com/office/officeart/2009/3/layout/HorizontalOrganizationChart"/>
    <dgm:cxn modelId="{5ACCAEDF-FBD5-49DC-B8A0-2F85655E9881}" type="presParOf" srcId="{2594697B-A8B0-4DF6-9B4B-C4C147C6BFE4}" destId="{66F839EA-1216-4387-BF5F-361D2D94650D}" srcOrd="0" destOrd="0" presId="urn:microsoft.com/office/officeart/2009/3/layout/HorizontalOrganizationChart"/>
    <dgm:cxn modelId="{E74837DB-FBCD-4279-AFD4-0FA63E024B01}" type="presParOf" srcId="{2594697B-A8B0-4DF6-9B4B-C4C147C6BFE4}" destId="{CFC18B94-4FBA-47CD-ABD6-749462FCC69A}" srcOrd="1" destOrd="0" presId="urn:microsoft.com/office/officeart/2009/3/layout/HorizontalOrganizationChart"/>
    <dgm:cxn modelId="{4ECBECCA-AB5C-4A55-8427-AA015369BA5B}" type="presParOf" srcId="{DE52C9D7-1C26-4F2C-8884-F0161087CFEC}" destId="{8008F72F-2BF3-4F4B-B1AE-6D23C28FEC3F}" srcOrd="1" destOrd="0" presId="urn:microsoft.com/office/officeart/2009/3/layout/HorizontalOrganizationChart"/>
    <dgm:cxn modelId="{F4D7DB3B-6AB0-4B85-8174-0E64F8B8765B}" type="presParOf" srcId="{8008F72F-2BF3-4F4B-B1AE-6D23C28FEC3F}" destId="{9484AD96-A6D5-4748-969C-E4B92A970937}" srcOrd="0" destOrd="0" presId="urn:microsoft.com/office/officeart/2009/3/layout/HorizontalOrganizationChart"/>
    <dgm:cxn modelId="{30ED4E26-38D3-4538-A281-583E86230533}" type="presParOf" srcId="{8008F72F-2BF3-4F4B-B1AE-6D23C28FEC3F}" destId="{F0908C13-C516-4E97-AE4F-A27E3162C72B}" srcOrd="1" destOrd="0" presId="urn:microsoft.com/office/officeart/2009/3/layout/HorizontalOrganizationChart"/>
    <dgm:cxn modelId="{A141C695-1092-4252-8E0F-8E72AB0C65B4}" type="presParOf" srcId="{F0908C13-C516-4E97-AE4F-A27E3162C72B}" destId="{2E81F640-154B-4417-B0A9-D6EB5324CCDA}" srcOrd="0" destOrd="0" presId="urn:microsoft.com/office/officeart/2009/3/layout/HorizontalOrganizationChart"/>
    <dgm:cxn modelId="{AFB6BEF4-31EE-4FEA-8EAA-6A84D871B807}" type="presParOf" srcId="{2E81F640-154B-4417-B0A9-D6EB5324CCDA}" destId="{20E39DE7-734B-43EE-83E1-5DA2E5DB6F29}" srcOrd="0" destOrd="0" presId="urn:microsoft.com/office/officeart/2009/3/layout/HorizontalOrganizationChart"/>
    <dgm:cxn modelId="{3FCCA15C-30E8-47A2-823C-3D0410F97053}" type="presParOf" srcId="{2E81F640-154B-4417-B0A9-D6EB5324CCDA}" destId="{6F1015F1-923E-445D-9DC0-CC0AADDA21B0}" srcOrd="1" destOrd="0" presId="urn:microsoft.com/office/officeart/2009/3/layout/HorizontalOrganizationChart"/>
    <dgm:cxn modelId="{CB10F002-FEC8-4019-AB26-C4F1CCA42E91}" type="presParOf" srcId="{F0908C13-C516-4E97-AE4F-A27E3162C72B}" destId="{47F9191B-8921-427D-A218-4B1FA0964AB1}" srcOrd="1" destOrd="0" presId="urn:microsoft.com/office/officeart/2009/3/layout/HorizontalOrganizationChart"/>
    <dgm:cxn modelId="{C0648E6C-A0A2-47B9-8374-F540CD07DAB1}" type="presParOf" srcId="{F0908C13-C516-4E97-AE4F-A27E3162C72B}" destId="{3CAB266D-C7D7-412C-A49D-595498C85A94}" srcOrd="2" destOrd="0" presId="urn:microsoft.com/office/officeart/2009/3/layout/HorizontalOrganizationChart"/>
    <dgm:cxn modelId="{8CE0B567-D60D-4B84-AC16-46865D22031D}" type="presParOf" srcId="{DE52C9D7-1C26-4F2C-8884-F0161087CFEC}" destId="{2FCDA872-C4AD-4128-907B-23A336D4CF4F}" srcOrd="2" destOrd="0" presId="urn:microsoft.com/office/officeart/2009/3/layout/HorizontalOrganizationChart"/>
    <dgm:cxn modelId="{0D40351B-3C70-4A0D-B142-58EAE2DCC305}" type="presParOf" srcId="{5AF7821A-E4E4-49F2-8CDD-D8E21E18D6E7}" destId="{548E39BF-3D16-4FA0-806F-A12583432E44}" srcOrd="4" destOrd="0" presId="urn:microsoft.com/office/officeart/2009/3/layout/HorizontalOrganizationChart"/>
    <dgm:cxn modelId="{78BB53A6-B147-4CEF-9572-1468BA2DD078}" type="presParOf" srcId="{548E39BF-3D16-4FA0-806F-A12583432E44}" destId="{CE63C615-46B4-4681-A9AF-FAB968BA1A11}" srcOrd="0" destOrd="0" presId="urn:microsoft.com/office/officeart/2009/3/layout/HorizontalOrganizationChart"/>
    <dgm:cxn modelId="{57FADE95-8172-422B-9309-91CBB5F672E1}" type="presParOf" srcId="{CE63C615-46B4-4681-A9AF-FAB968BA1A11}" destId="{34B92687-26AF-45EB-AA9C-D562FD3F5B8B}" srcOrd="0" destOrd="0" presId="urn:microsoft.com/office/officeart/2009/3/layout/HorizontalOrganizationChart"/>
    <dgm:cxn modelId="{75D92CC3-5C76-4063-BD01-48644F5E396B}" type="presParOf" srcId="{CE63C615-46B4-4681-A9AF-FAB968BA1A11}" destId="{10904998-4AC3-4226-96FF-4468A42FBDAE}" srcOrd="1" destOrd="0" presId="urn:microsoft.com/office/officeart/2009/3/layout/HorizontalOrganizationChart"/>
    <dgm:cxn modelId="{DE46168C-0EB8-4B3F-8686-4D482EF36293}" type="presParOf" srcId="{548E39BF-3D16-4FA0-806F-A12583432E44}" destId="{314849F8-32DF-4E05-86A2-78390C9812CA}" srcOrd="1" destOrd="0" presId="urn:microsoft.com/office/officeart/2009/3/layout/HorizontalOrganizationChart"/>
    <dgm:cxn modelId="{A592609E-8CA2-4011-9D66-181129D11BF6}" type="presParOf" srcId="{314849F8-32DF-4E05-86A2-78390C9812CA}" destId="{F580550D-7334-4B9E-95B2-51BB673FC8D1}" srcOrd="0" destOrd="0" presId="urn:microsoft.com/office/officeart/2009/3/layout/HorizontalOrganizationChart"/>
    <dgm:cxn modelId="{A2D5CB13-509A-427E-983A-28068C512ADC}" type="presParOf" srcId="{314849F8-32DF-4E05-86A2-78390C9812CA}" destId="{5D024D76-02E8-4BC8-B6A7-1ED65FC22934}" srcOrd="1" destOrd="0" presId="urn:microsoft.com/office/officeart/2009/3/layout/HorizontalOrganizationChart"/>
    <dgm:cxn modelId="{3A3624A8-27B5-45CA-93AA-4E6B97197E84}" type="presParOf" srcId="{5D024D76-02E8-4BC8-B6A7-1ED65FC22934}" destId="{58B89B0E-A179-4F98-A109-D527ACCA21EB}" srcOrd="0" destOrd="0" presId="urn:microsoft.com/office/officeart/2009/3/layout/HorizontalOrganizationChart"/>
    <dgm:cxn modelId="{DBE0AD55-0868-4780-A1D1-CF288AF2AE41}" type="presParOf" srcId="{58B89B0E-A179-4F98-A109-D527ACCA21EB}" destId="{4DA49A07-9EA0-48E0-9D38-EEBB3D0A0EA8}" srcOrd="0" destOrd="0" presId="urn:microsoft.com/office/officeart/2009/3/layout/HorizontalOrganizationChart"/>
    <dgm:cxn modelId="{B974C84C-89D1-4BF2-8F96-7A8DFE929F5E}" type="presParOf" srcId="{58B89B0E-A179-4F98-A109-D527ACCA21EB}" destId="{791FDAA3-E3B9-44A0-A506-C5A7896959A9}" srcOrd="1" destOrd="0" presId="urn:microsoft.com/office/officeart/2009/3/layout/HorizontalOrganizationChart"/>
    <dgm:cxn modelId="{B43CEFAF-5E82-47DA-93F5-75903F94DB48}" type="presParOf" srcId="{5D024D76-02E8-4BC8-B6A7-1ED65FC22934}" destId="{F4BAA4A6-4A8D-4FE3-BE4B-970580080373}" srcOrd="1" destOrd="0" presId="urn:microsoft.com/office/officeart/2009/3/layout/HorizontalOrganizationChart"/>
    <dgm:cxn modelId="{A731B3DD-00BC-4987-B110-C9544C40C3AF}" type="presParOf" srcId="{F4BAA4A6-4A8D-4FE3-BE4B-970580080373}" destId="{88CBFC17-B32F-40BB-A01F-845BE2F3B3D2}" srcOrd="0" destOrd="0" presId="urn:microsoft.com/office/officeart/2009/3/layout/HorizontalOrganizationChart"/>
    <dgm:cxn modelId="{6D665F9C-E6E1-4872-899E-9CA8F2C71D9F}" type="presParOf" srcId="{F4BAA4A6-4A8D-4FE3-BE4B-970580080373}" destId="{497FC27D-FBFD-40FD-B143-73D58863783C}" srcOrd="1" destOrd="0" presId="urn:microsoft.com/office/officeart/2009/3/layout/HorizontalOrganizationChart"/>
    <dgm:cxn modelId="{83354E0C-E979-4B1E-BBF4-ECDC18D95205}" type="presParOf" srcId="{497FC27D-FBFD-40FD-B143-73D58863783C}" destId="{7A78D83F-1F19-49EA-A692-D8C7154E0D2A}" srcOrd="0" destOrd="0" presId="urn:microsoft.com/office/officeart/2009/3/layout/HorizontalOrganizationChart"/>
    <dgm:cxn modelId="{21DEF352-E13A-441C-83BF-E951F3961EC3}" type="presParOf" srcId="{7A78D83F-1F19-49EA-A692-D8C7154E0D2A}" destId="{185F49BA-0FB4-494E-888E-7DA48969E1D5}" srcOrd="0" destOrd="0" presId="urn:microsoft.com/office/officeart/2009/3/layout/HorizontalOrganizationChart"/>
    <dgm:cxn modelId="{C467C160-65FA-4E36-B0AA-8BC9AE4F47A3}" type="presParOf" srcId="{7A78D83F-1F19-49EA-A692-D8C7154E0D2A}" destId="{B807D448-C164-41F3-952C-4662C5DAB639}" srcOrd="1" destOrd="0" presId="urn:microsoft.com/office/officeart/2009/3/layout/HorizontalOrganizationChart"/>
    <dgm:cxn modelId="{D7A55B66-016D-45EA-B41A-ADBCF792B2C3}" type="presParOf" srcId="{497FC27D-FBFD-40FD-B143-73D58863783C}" destId="{41C29178-ECF4-45D7-97EE-1D8ED8D70730}" srcOrd="1" destOrd="0" presId="urn:microsoft.com/office/officeart/2009/3/layout/HorizontalOrganizationChart"/>
    <dgm:cxn modelId="{6D9E9C85-7D85-4046-8390-A45A5B167260}" type="presParOf" srcId="{497FC27D-FBFD-40FD-B143-73D58863783C}" destId="{C84A8BD9-3428-4B7A-98EA-1C0776D2CFCB}" srcOrd="2" destOrd="0" presId="urn:microsoft.com/office/officeart/2009/3/layout/HorizontalOrganizationChart"/>
    <dgm:cxn modelId="{6086AFC1-D73C-4243-A58D-DAD86EFFECB6}" type="presParOf" srcId="{5D024D76-02E8-4BC8-B6A7-1ED65FC22934}" destId="{3EF75164-2C5D-4F1B-95FD-4DE87B539CD2}" srcOrd="2" destOrd="0" presId="urn:microsoft.com/office/officeart/2009/3/layout/HorizontalOrganizationChart"/>
    <dgm:cxn modelId="{190700D5-15CD-4CFC-9E2B-0A9CA708E900}" type="presParOf" srcId="{548E39BF-3D16-4FA0-806F-A12583432E44}" destId="{D01537A8-DB3F-48BC-9816-2C81E1C2DE94}" srcOrd="2" destOrd="0" presId="urn:microsoft.com/office/officeart/2009/3/layout/HorizontalOrganizationChart"/>
    <dgm:cxn modelId="{89701FF4-D731-4417-9890-77626637A269}" type="presParOf" srcId="{5AF7821A-E4E4-49F2-8CDD-D8E21E18D6E7}" destId="{07595309-A3B9-48F5-9DA7-A602069CE35A}" srcOrd="5" destOrd="0" presId="urn:microsoft.com/office/officeart/2009/3/layout/HorizontalOrganizationChart"/>
    <dgm:cxn modelId="{ED1E723F-F2FC-40CA-89F1-F3455FE6BCA8}" type="presParOf" srcId="{07595309-A3B9-48F5-9DA7-A602069CE35A}" destId="{974122BA-7B94-445E-9A7E-07E6376AF83F}" srcOrd="0" destOrd="0" presId="urn:microsoft.com/office/officeart/2009/3/layout/HorizontalOrganizationChart"/>
    <dgm:cxn modelId="{0A1F5599-D962-4906-A4DA-1EF29AB2E0D5}" type="presParOf" srcId="{974122BA-7B94-445E-9A7E-07E6376AF83F}" destId="{1493CCFF-D6F7-4055-977E-E02F35F1D3DE}" srcOrd="0" destOrd="0" presId="urn:microsoft.com/office/officeart/2009/3/layout/HorizontalOrganizationChart"/>
    <dgm:cxn modelId="{486B8FD6-20B6-4D49-893A-73725CC88B9B}" type="presParOf" srcId="{974122BA-7B94-445E-9A7E-07E6376AF83F}" destId="{33967DC3-621D-400D-945C-99F4F4EA2AAA}" srcOrd="1" destOrd="0" presId="urn:microsoft.com/office/officeart/2009/3/layout/HorizontalOrganizationChart"/>
    <dgm:cxn modelId="{76AA95D2-C4C2-4B81-B651-5EA972480DC9}" type="presParOf" srcId="{07595309-A3B9-48F5-9DA7-A602069CE35A}" destId="{2859A2DD-E9BA-47AF-AA9B-6FA676AF0567}" srcOrd="1" destOrd="0" presId="urn:microsoft.com/office/officeart/2009/3/layout/HorizontalOrganizationChart"/>
    <dgm:cxn modelId="{10962FC0-AB13-4E33-A637-C2722007EC58}" type="presParOf" srcId="{2859A2DD-E9BA-47AF-AA9B-6FA676AF0567}" destId="{25C2574F-6633-42E9-9DE8-5FC0DBDAE680}" srcOrd="0" destOrd="0" presId="urn:microsoft.com/office/officeart/2009/3/layout/HorizontalOrganizationChart"/>
    <dgm:cxn modelId="{0B715F9C-B9FA-4CB2-BE6A-DC9959C2529D}" type="presParOf" srcId="{2859A2DD-E9BA-47AF-AA9B-6FA676AF0567}" destId="{91A9D603-466A-43DE-9FD8-208786251578}" srcOrd="1" destOrd="0" presId="urn:microsoft.com/office/officeart/2009/3/layout/HorizontalOrganizationChart"/>
    <dgm:cxn modelId="{D8EAA05D-7662-4744-ADAF-5AAC51DA43DD}" type="presParOf" srcId="{91A9D603-466A-43DE-9FD8-208786251578}" destId="{52F0CA5A-9A48-40E8-AA0C-44FA35337413}" srcOrd="0" destOrd="0" presId="urn:microsoft.com/office/officeart/2009/3/layout/HorizontalOrganizationChart"/>
    <dgm:cxn modelId="{06F524D0-D9D5-434F-99A6-13E56A9B16F3}" type="presParOf" srcId="{52F0CA5A-9A48-40E8-AA0C-44FA35337413}" destId="{1E5E492B-8977-4BF8-9DC9-D4782DC096AF}" srcOrd="0" destOrd="0" presId="urn:microsoft.com/office/officeart/2009/3/layout/HorizontalOrganizationChart"/>
    <dgm:cxn modelId="{1FD01DCA-7C07-4781-B24E-2E817F141421}" type="presParOf" srcId="{52F0CA5A-9A48-40E8-AA0C-44FA35337413}" destId="{79FC5B86-667A-48F0-BC3B-753A77B62F21}" srcOrd="1" destOrd="0" presId="urn:microsoft.com/office/officeart/2009/3/layout/HorizontalOrganizationChart"/>
    <dgm:cxn modelId="{BF8DCD5A-FB9B-4BD5-93B0-E290802934EF}" type="presParOf" srcId="{91A9D603-466A-43DE-9FD8-208786251578}" destId="{C3FABB16-6986-477C-85AC-837CF6E36880}" srcOrd="1" destOrd="0" presId="urn:microsoft.com/office/officeart/2009/3/layout/HorizontalOrganizationChart"/>
    <dgm:cxn modelId="{1FE70095-742C-49BA-8576-53E6A10BFB6B}" type="presParOf" srcId="{91A9D603-466A-43DE-9FD8-208786251578}" destId="{6D803701-C068-41F9-A6E9-21BD3565B757}" srcOrd="2" destOrd="0" presId="urn:microsoft.com/office/officeart/2009/3/layout/HorizontalOrganizationChart"/>
    <dgm:cxn modelId="{16C1B80B-0F48-4FC8-8E36-BC6A9579D82C}" type="presParOf" srcId="{07595309-A3B9-48F5-9DA7-A602069CE35A}" destId="{28492763-9DB5-4240-8B04-43476765A33E}" srcOrd="2" destOrd="0" presId="urn:microsoft.com/office/officeart/2009/3/layout/HorizontalOrganizationChar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DB4F03-E258-4D63-8A62-5FF930F47F03}">
      <dsp:nvSpPr>
        <dsp:cNvPr id="0" name=""/>
        <dsp:cNvSpPr/>
      </dsp:nvSpPr>
      <dsp:spPr>
        <a:xfrm>
          <a:off x="1224925" y="1748501"/>
          <a:ext cx="217149" cy="226883"/>
        </a:xfrm>
        <a:custGeom>
          <a:avLst/>
          <a:gdLst/>
          <a:ahLst/>
          <a:cxnLst/>
          <a:rect l="0" t="0" r="0" b="0"/>
          <a:pathLst>
            <a:path>
              <a:moveTo>
                <a:pt x="0" y="0"/>
              </a:moveTo>
              <a:lnTo>
                <a:pt x="108574" y="0"/>
              </a:lnTo>
              <a:lnTo>
                <a:pt x="108574" y="226883"/>
              </a:lnTo>
              <a:lnTo>
                <a:pt x="217149" y="226883"/>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424F5A6-E31E-4538-B20B-89CB9CA6EB53}">
      <dsp:nvSpPr>
        <dsp:cNvPr id="0" name=""/>
        <dsp:cNvSpPr/>
      </dsp:nvSpPr>
      <dsp:spPr>
        <a:xfrm>
          <a:off x="1224925" y="1521617"/>
          <a:ext cx="217149" cy="226883"/>
        </a:xfrm>
        <a:custGeom>
          <a:avLst/>
          <a:gdLst/>
          <a:ahLst/>
          <a:cxnLst/>
          <a:rect l="0" t="0" r="0" b="0"/>
          <a:pathLst>
            <a:path>
              <a:moveTo>
                <a:pt x="0" y="226883"/>
              </a:moveTo>
              <a:lnTo>
                <a:pt x="108574" y="226883"/>
              </a:lnTo>
              <a:lnTo>
                <a:pt x="108574" y="0"/>
              </a:lnTo>
              <a:lnTo>
                <a:pt x="217149"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7CE4BB-3745-47AB-B95A-714BC82C109F}">
      <dsp:nvSpPr>
        <dsp:cNvPr id="0" name=""/>
        <dsp:cNvSpPr/>
      </dsp:nvSpPr>
      <dsp:spPr>
        <a:xfrm>
          <a:off x="1224925" y="614082"/>
          <a:ext cx="217149" cy="453767"/>
        </a:xfrm>
        <a:custGeom>
          <a:avLst/>
          <a:gdLst/>
          <a:ahLst/>
          <a:cxnLst/>
          <a:rect l="0" t="0" r="0" b="0"/>
          <a:pathLst>
            <a:path>
              <a:moveTo>
                <a:pt x="0" y="0"/>
              </a:moveTo>
              <a:lnTo>
                <a:pt x="108574" y="0"/>
              </a:lnTo>
              <a:lnTo>
                <a:pt x="108574" y="453767"/>
              </a:lnTo>
              <a:lnTo>
                <a:pt x="217149" y="453767"/>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C25BEF-5C83-4CFB-83AF-E6EDFD491A94}">
      <dsp:nvSpPr>
        <dsp:cNvPr id="0" name=""/>
        <dsp:cNvSpPr/>
      </dsp:nvSpPr>
      <dsp:spPr>
        <a:xfrm>
          <a:off x="1224925" y="568362"/>
          <a:ext cx="217149" cy="91440"/>
        </a:xfrm>
        <a:custGeom>
          <a:avLst/>
          <a:gdLst/>
          <a:ahLst/>
          <a:cxnLst/>
          <a:rect l="0" t="0" r="0" b="0"/>
          <a:pathLst>
            <a:path>
              <a:moveTo>
                <a:pt x="0" y="45720"/>
              </a:moveTo>
              <a:lnTo>
                <a:pt x="217149" y="4572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13CCCA-A47C-4137-B853-1AC1B040171A}">
      <dsp:nvSpPr>
        <dsp:cNvPr id="0" name=""/>
        <dsp:cNvSpPr/>
      </dsp:nvSpPr>
      <dsp:spPr>
        <a:xfrm>
          <a:off x="1224925" y="160314"/>
          <a:ext cx="217149" cy="453767"/>
        </a:xfrm>
        <a:custGeom>
          <a:avLst/>
          <a:gdLst/>
          <a:ahLst/>
          <a:cxnLst/>
          <a:rect l="0" t="0" r="0" b="0"/>
          <a:pathLst>
            <a:path>
              <a:moveTo>
                <a:pt x="0" y="453767"/>
              </a:moveTo>
              <a:lnTo>
                <a:pt x="108574" y="453767"/>
              </a:lnTo>
              <a:lnTo>
                <a:pt x="108574" y="0"/>
              </a:lnTo>
              <a:lnTo>
                <a:pt x="217149"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8BD075B-C694-4A97-8ECA-96FB005080EE}">
      <dsp:nvSpPr>
        <dsp:cNvPr id="0" name=""/>
        <dsp:cNvSpPr/>
      </dsp:nvSpPr>
      <dsp:spPr>
        <a:xfrm>
          <a:off x="139177" y="448505"/>
          <a:ext cx="1085747" cy="331153"/>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1115 waiver</a:t>
          </a:r>
        </a:p>
      </dsp:txBody>
      <dsp:txXfrm>
        <a:off x="155343" y="464671"/>
        <a:ext cx="1053415" cy="298821"/>
      </dsp:txXfrm>
    </dsp:sp>
    <dsp:sp modelId="{286FD8F5-9FB7-4A8F-BCB6-CD474CCCD646}">
      <dsp:nvSpPr>
        <dsp:cNvPr id="0" name=""/>
        <dsp:cNvSpPr/>
      </dsp:nvSpPr>
      <dsp:spPr>
        <a:xfrm>
          <a:off x="1442074" y="1289"/>
          <a:ext cx="1085747" cy="318049"/>
        </a:xfrm>
        <a:prstGeom prst="ellipse">
          <a:avLst/>
        </a:prstGeom>
        <a:solidFill>
          <a:schemeClr val="bg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Approved</a:t>
          </a:r>
        </a:p>
      </dsp:txBody>
      <dsp:txXfrm>
        <a:off x="1601078" y="47866"/>
        <a:ext cx="767739" cy="224895"/>
      </dsp:txXfrm>
    </dsp:sp>
    <dsp:sp modelId="{457852C2-B9FC-4EB8-88BF-68AA537E0DFB}">
      <dsp:nvSpPr>
        <dsp:cNvPr id="0" name=""/>
        <dsp:cNvSpPr/>
      </dsp:nvSpPr>
      <dsp:spPr>
        <a:xfrm>
          <a:off x="1442074" y="455057"/>
          <a:ext cx="1085747" cy="318049"/>
        </a:xfrm>
        <a:prstGeom prst="ellipse">
          <a:avLst/>
        </a:prstGeom>
        <a:solidFill>
          <a:schemeClr val="bg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Denied</a:t>
          </a:r>
        </a:p>
      </dsp:txBody>
      <dsp:txXfrm>
        <a:off x="1601078" y="501634"/>
        <a:ext cx="767739" cy="224895"/>
      </dsp:txXfrm>
    </dsp:sp>
    <dsp:sp modelId="{F2D44061-3F54-46D3-B092-124DCE2E8121}">
      <dsp:nvSpPr>
        <dsp:cNvPr id="0" name=""/>
        <dsp:cNvSpPr/>
      </dsp:nvSpPr>
      <dsp:spPr>
        <a:xfrm>
          <a:off x="1442074" y="908825"/>
          <a:ext cx="1085747" cy="318049"/>
        </a:xfrm>
        <a:prstGeom prst="ellipse">
          <a:avLst/>
        </a:prstGeom>
        <a:solidFill>
          <a:schemeClr val="bg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Delay*</a:t>
          </a:r>
        </a:p>
      </dsp:txBody>
      <dsp:txXfrm>
        <a:off x="1601078" y="955402"/>
        <a:ext cx="767739" cy="224895"/>
      </dsp:txXfrm>
    </dsp:sp>
    <dsp:sp modelId="{7C97E42F-1B16-46A9-9A74-EEA8016BCEF7}">
      <dsp:nvSpPr>
        <dsp:cNvPr id="0" name=""/>
        <dsp:cNvSpPr/>
      </dsp:nvSpPr>
      <dsp:spPr>
        <a:xfrm>
          <a:off x="139177" y="1582925"/>
          <a:ext cx="1085747" cy="331153"/>
        </a:xfrm>
        <a:prstGeom prst="roundRect">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1332 waiver</a:t>
          </a:r>
        </a:p>
      </dsp:txBody>
      <dsp:txXfrm>
        <a:off x="155343" y="1599091"/>
        <a:ext cx="1053415" cy="298821"/>
      </dsp:txXfrm>
    </dsp:sp>
    <dsp:sp modelId="{F7B5F65C-7F4E-4947-B4BA-38FBE2BE4761}">
      <dsp:nvSpPr>
        <dsp:cNvPr id="0" name=""/>
        <dsp:cNvSpPr/>
      </dsp:nvSpPr>
      <dsp:spPr>
        <a:xfrm>
          <a:off x="1442074" y="1362593"/>
          <a:ext cx="1085747" cy="318049"/>
        </a:xfrm>
        <a:prstGeom prst="ellipse">
          <a:avLst/>
        </a:prstGeom>
        <a:solidFill>
          <a:schemeClr val="bg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Approved</a:t>
          </a:r>
        </a:p>
      </dsp:txBody>
      <dsp:txXfrm>
        <a:off x="1601078" y="1409170"/>
        <a:ext cx="767739" cy="224895"/>
      </dsp:txXfrm>
    </dsp:sp>
    <dsp:sp modelId="{D6362239-05DD-421C-83F1-82D1BD0C2550}">
      <dsp:nvSpPr>
        <dsp:cNvPr id="0" name=""/>
        <dsp:cNvSpPr/>
      </dsp:nvSpPr>
      <dsp:spPr>
        <a:xfrm>
          <a:off x="1442074" y="1816360"/>
          <a:ext cx="1085747" cy="318049"/>
        </a:xfrm>
        <a:prstGeom prst="ellipse">
          <a:avLst/>
        </a:prstGeom>
        <a:solidFill>
          <a:schemeClr val="bg2">
            <a:lumMod val="75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Denied</a:t>
          </a:r>
        </a:p>
      </dsp:txBody>
      <dsp:txXfrm>
        <a:off x="1601078" y="1862937"/>
        <a:ext cx="767739" cy="2248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DB4F03-E258-4D63-8A62-5FF930F47F03}">
      <dsp:nvSpPr>
        <dsp:cNvPr id="0" name=""/>
        <dsp:cNvSpPr/>
      </dsp:nvSpPr>
      <dsp:spPr>
        <a:xfrm>
          <a:off x="1227692" y="1747389"/>
          <a:ext cx="211614" cy="226513"/>
        </a:xfrm>
        <a:custGeom>
          <a:avLst/>
          <a:gdLst/>
          <a:ahLst/>
          <a:cxnLst/>
          <a:rect l="0" t="0" r="0" b="0"/>
          <a:pathLst>
            <a:path>
              <a:moveTo>
                <a:pt x="0" y="0"/>
              </a:moveTo>
              <a:lnTo>
                <a:pt x="105807" y="0"/>
              </a:lnTo>
              <a:lnTo>
                <a:pt x="105807" y="226513"/>
              </a:lnTo>
              <a:lnTo>
                <a:pt x="211614" y="226513"/>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424F5A6-E31E-4538-B20B-89CB9CA6EB53}">
      <dsp:nvSpPr>
        <dsp:cNvPr id="0" name=""/>
        <dsp:cNvSpPr/>
      </dsp:nvSpPr>
      <dsp:spPr>
        <a:xfrm>
          <a:off x="1227692" y="1520876"/>
          <a:ext cx="211614" cy="226513"/>
        </a:xfrm>
        <a:custGeom>
          <a:avLst/>
          <a:gdLst/>
          <a:ahLst/>
          <a:cxnLst/>
          <a:rect l="0" t="0" r="0" b="0"/>
          <a:pathLst>
            <a:path>
              <a:moveTo>
                <a:pt x="0" y="226513"/>
              </a:moveTo>
              <a:lnTo>
                <a:pt x="105807" y="226513"/>
              </a:lnTo>
              <a:lnTo>
                <a:pt x="105807" y="0"/>
              </a:lnTo>
              <a:lnTo>
                <a:pt x="211614"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7CE4BB-3745-47AB-B95A-714BC82C109F}">
      <dsp:nvSpPr>
        <dsp:cNvPr id="0" name=""/>
        <dsp:cNvSpPr/>
      </dsp:nvSpPr>
      <dsp:spPr>
        <a:xfrm>
          <a:off x="1227692" y="614823"/>
          <a:ext cx="211614" cy="453026"/>
        </a:xfrm>
        <a:custGeom>
          <a:avLst/>
          <a:gdLst/>
          <a:ahLst/>
          <a:cxnLst/>
          <a:rect l="0" t="0" r="0" b="0"/>
          <a:pathLst>
            <a:path>
              <a:moveTo>
                <a:pt x="0" y="0"/>
              </a:moveTo>
              <a:lnTo>
                <a:pt x="105807" y="0"/>
              </a:lnTo>
              <a:lnTo>
                <a:pt x="105807" y="453026"/>
              </a:lnTo>
              <a:lnTo>
                <a:pt x="211614" y="453026"/>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C25BEF-5C83-4CFB-83AF-E6EDFD491A94}">
      <dsp:nvSpPr>
        <dsp:cNvPr id="0" name=""/>
        <dsp:cNvSpPr/>
      </dsp:nvSpPr>
      <dsp:spPr>
        <a:xfrm>
          <a:off x="1227692" y="569103"/>
          <a:ext cx="211614" cy="91440"/>
        </a:xfrm>
        <a:custGeom>
          <a:avLst/>
          <a:gdLst/>
          <a:ahLst/>
          <a:cxnLst/>
          <a:rect l="0" t="0" r="0" b="0"/>
          <a:pathLst>
            <a:path>
              <a:moveTo>
                <a:pt x="0" y="45720"/>
              </a:moveTo>
              <a:lnTo>
                <a:pt x="211614" y="4572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13CCCA-A47C-4137-B853-1AC1B040171A}">
      <dsp:nvSpPr>
        <dsp:cNvPr id="0" name=""/>
        <dsp:cNvSpPr/>
      </dsp:nvSpPr>
      <dsp:spPr>
        <a:xfrm>
          <a:off x="1227692" y="161797"/>
          <a:ext cx="211614" cy="453026"/>
        </a:xfrm>
        <a:custGeom>
          <a:avLst/>
          <a:gdLst/>
          <a:ahLst/>
          <a:cxnLst/>
          <a:rect l="0" t="0" r="0" b="0"/>
          <a:pathLst>
            <a:path>
              <a:moveTo>
                <a:pt x="0" y="453026"/>
              </a:moveTo>
              <a:lnTo>
                <a:pt x="105807" y="453026"/>
              </a:lnTo>
              <a:lnTo>
                <a:pt x="105807" y="0"/>
              </a:lnTo>
              <a:lnTo>
                <a:pt x="211614"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8BD075B-C694-4A97-8ECA-96FB005080EE}">
      <dsp:nvSpPr>
        <dsp:cNvPr id="0" name=""/>
        <dsp:cNvSpPr/>
      </dsp:nvSpPr>
      <dsp:spPr>
        <a:xfrm>
          <a:off x="169617" y="453467"/>
          <a:ext cx="1058074" cy="322712"/>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1115 waiver</a:t>
          </a:r>
        </a:p>
      </dsp:txBody>
      <dsp:txXfrm>
        <a:off x="185371" y="469221"/>
        <a:ext cx="1026566" cy="291204"/>
      </dsp:txXfrm>
    </dsp:sp>
    <dsp:sp modelId="{286FD8F5-9FB7-4A8F-BCB6-CD474CCCD646}">
      <dsp:nvSpPr>
        <dsp:cNvPr id="0" name=""/>
        <dsp:cNvSpPr/>
      </dsp:nvSpPr>
      <dsp:spPr>
        <a:xfrm>
          <a:off x="1439307" y="1414"/>
          <a:ext cx="1058074" cy="320766"/>
        </a:xfrm>
        <a:prstGeom prst="ellipse">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Approved</a:t>
          </a:r>
        </a:p>
      </dsp:txBody>
      <dsp:txXfrm>
        <a:off x="1594258" y="48389"/>
        <a:ext cx="748172" cy="226816"/>
      </dsp:txXfrm>
    </dsp:sp>
    <dsp:sp modelId="{457852C2-B9FC-4EB8-88BF-68AA537E0DFB}">
      <dsp:nvSpPr>
        <dsp:cNvPr id="0" name=""/>
        <dsp:cNvSpPr/>
      </dsp:nvSpPr>
      <dsp:spPr>
        <a:xfrm>
          <a:off x="1439307" y="454440"/>
          <a:ext cx="1058074" cy="320766"/>
        </a:xfrm>
        <a:prstGeom prst="ellipse">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Denied</a:t>
          </a:r>
        </a:p>
      </dsp:txBody>
      <dsp:txXfrm>
        <a:off x="1594258" y="501415"/>
        <a:ext cx="748172" cy="226816"/>
      </dsp:txXfrm>
    </dsp:sp>
    <dsp:sp modelId="{F2D44061-3F54-46D3-B092-124DCE2E8121}">
      <dsp:nvSpPr>
        <dsp:cNvPr id="0" name=""/>
        <dsp:cNvSpPr/>
      </dsp:nvSpPr>
      <dsp:spPr>
        <a:xfrm>
          <a:off x="1439307" y="907466"/>
          <a:ext cx="1058074" cy="320766"/>
        </a:xfrm>
        <a:prstGeom prst="ellipse">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Delay*</a:t>
          </a:r>
        </a:p>
      </dsp:txBody>
      <dsp:txXfrm>
        <a:off x="1594258" y="954441"/>
        <a:ext cx="748172" cy="226816"/>
      </dsp:txXfrm>
    </dsp:sp>
    <dsp:sp modelId="{7C97E42F-1B16-46A9-9A74-EEA8016BCEF7}">
      <dsp:nvSpPr>
        <dsp:cNvPr id="0" name=""/>
        <dsp:cNvSpPr/>
      </dsp:nvSpPr>
      <dsp:spPr>
        <a:xfrm>
          <a:off x="169617" y="1586032"/>
          <a:ext cx="1058074" cy="322712"/>
        </a:xfrm>
        <a:prstGeom prst="roundRect">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1332 waiver</a:t>
          </a:r>
        </a:p>
      </dsp:txBody>
      <dsp:txXfrm>
        <a:off x="185371" y="1601786"/>
        <a:ext cx="1026566" cy="291204"/>
      </dsp:txXfrm>
    </dsp:sp>
    <dsp:sp modelId="{F7B5F65C-7F4E-4947-B4BA-38FBE2BE4761}">
      <dsp:nvSpPr>
        <dsp:cNvPr id="0" name=""/>
        <dsp:cNvSpPr/>
      </dsp:nvSpPr>
      <dsp:spPr>
        <a:xfrm>
          <a:off x="1439307" y="1360492"/>
          <a:ext cx="1058074" cy="320766"/>
        </a:xfrm>
        <a:prstGeom prst="ellipse">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Approved</a:t>
          </a:r>
        </a:p>
      </dsp:txBody>
      <dsp:txXfrm>
        <a:off x="1594258" y="1407467"/>
        <a:ext cx="748172" cy="226816"/>
      </dsp:txXfrm>
    </dsp:sp>
    <dsp:sp modelId="{D6362239-05DD-421C-83F1-82D1BD0C2550}">
      <dsp:nvSpPr>
        <dsp:cNvPr id="0" name=""/>
        <dsp:cNvSpPr/>
      </dsp:nvSpPr>
      <dsp:spPr>
        <a:xfrm>
          <a:off x="1439307" y="1813519"/>
          <a:ext cx="1058074" cy="320766"/>
        </a:xfrm>
        <a:prstGeom prst="ellipse">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Denied</a:t>
          </a:r>
        </a:p>
      </dsp:txBody>
      <dsp:txXfrm>
        <a:off x="1594258" y="1860494"/>
        <a:ext cx="748172" cy="2268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7CE4BB-3745-47AB-B95A-714BC82C109F}">
      <dsp:nvSpPr>
        <dsp:cNvPr id="0" name=""/>
        <dsp:cNvSpPr/>
      </dsp:nvSpPr>
      <dsp:spPr>
        <a:xfrm>
          <a:off x="1212391" y="1067850"/>
          <a:ext cx="242217" cy="520768"/>
        </a:xfrm>
        <a:custGeom>
          <a:avLst/>
          <a:gdLst/>
          <a:ahLst/>
          <a:cxnLst/>
          <a:rect l="0" t="0" r="0" b="0"/>
          <a:pathLst>
            <a:path>
              <a:moveTo>
                <a:pt x="0" y="0"/>
              </a:moveTo>
              <a:lnTo>
                <a:pt x="121108" y="0"/>
              </a:lnTo>
              <a:lnTo>
                <a:pt x="121108" y="520768"/>
              </a:lnTo>
              <a:lnTo>
                <a:pt x="242217" y="520768"/>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C25BEF-5C83-4CFB-83AF-E6EDFD491A94}">
      <dsp:nvSpPr>
        <dsp:cNvPr id="0" name=""/>
        <dsp:cNvSpPr/>
      </dsp:nvSpPr>
      <dsp:spPr>
        <a:xfrm>
          <a:off x="1212391" y="1022130"/>
          <a:ext cx="242217" cy="91440"/>
        </a:xfrm>
        <a:custGeom>
          <a:avLst/>
          <a:gdLst/>
          <a:ahLst/>
          <a:cxnLst/>
          <a:rect l="0" t="0" r="0" b="0"/>
          <a:pathLst>
            <a:path>
              <a:moveTo>
                <a:pt x="0" y="45720"/>
              </a:moveTo>
              <a:lnTo>
                <a:pt x="121108" y="45720"/>
              </a:lnTo>
              <a:lnTo>
                <a:pt x="121108" y="47531"/>
              </a:lnTo>
              <a:lnTo>
                <a:pt x="242217" y="47531"/>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513CCCA-A47C-4137-B853-1AC1B040171A}">
      <dsp:nvSpPr>
        <dsp:cNvPr id="0" name=""/>
        <dsp:cNvSpPr/>
      </dsp:nvSpPr>
      <dsp:spPr>
        <a:xfrm>
          <a:off x="1212391" y="548893"/>
          <a:ext cx="242217" cy="518956"/>
        </a:xfrm>
        <a:custGeom>
          <a:avLst/>
          <a:gdLst/>
          <a:ahLst/>
          <a:cxnLst/>
          <a:rect l="0" t="0" r="0" b="0"/>
          <a:pathLst>
            <a:path>
              <a:moveTo>
                <a:pt x="0" y="518956"/>
              </a:moveTo>
              <a:lnTo>
                <a:pt x="121108" y="518956"/>
              </a:lnTo>
              <a:lnTo>
                <a:pt x="121108" y="0"/>
              </a:lnTo>
              <a:lnTo>
                <a:pt x="242217"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8BD075B-C694-4A97-8ECA-96FB005080EE}">
      <dsp:nvSpPr>
        <dsp:cNvPr id="0" name=""/>
        <dsp:cNvSpPr/>
      </dsp:nvSpPr>
      <dsp:spPr>
        <a:xfrm>
          <a:off x="1302" y="883158"/>
          <a:ext cx="1211088" cy="369382"/>
        </a:xfrm>
        <a:prstGeom prst="roundRect">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1115 waiver</a:t>
          </a:r>
        </a:p>
      </dsp:txBody>
      <dsp:txXfrm>
        <a:off x="19334" y="901190"/>
        <a:ext cx="1175024" cy="333318"/>
      </dsp:txXfrm>
    </dsp:sp>
    <dsp:sp modelId="{286FD8F5-9FB7-4A8F-BCB6-CD474CCCD646}">
      <dsp:nvSpPr>
        <dsp:cNvPr id="0" name=""/>
        <dsp:cNvSpPr/>
      </dsp:nvSpPr>
      <dsp:spPr>
        <a:xfrm>
          <a:off x="1454608" y="364202"/>
          <a:ext cx="1211088" cy="369382"/>
        </a:xfrm>
        <a:prstGeom prst="ellipse">
          <a:avLst/>
        </a:prstGeom>
        <a:solidFill>
          <a:schemeClr val="bg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Approved</a:t>
          </a:r>
        </a:p>
      </dsp:txBody>
      <dsp:txXfrm>
        <a:off x="1631968" y="418297"/>
        <a:ext cx="856368" cy="261192"/>
      </dsp:txXfrm>
    </dsp:sp>
    <dsp:sp modelId="{457852C2-B9FC-4EB8-88BF-68AA537E0DFB}">
      <dsp:nvSpPr>
        <dsp:cNvPr id="0" name=""/>
        <dsp:cNvSpPr/>
      </dsp:nvSpPr>
      <dsp:spPr>
        <a:xfrm>
          <a:off x="1454608" y="884970"/>
          <a:ext cx="1211088" cy="369382"/>
        </a:xfrm>
        <a:prstGeom prst="ellipse">
          <a:avLst/>
        </a:prstGeom>
        <a:solidFill>
          <a:schemeClr val="bg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Denied</a:t>
          </a:r>
        </a:p>
      </dsp:txBody>
      <dsp:txXfrm>
        <a:off x="1631968" y="939065"/>
        <a:ext cx="856368" cy="261192"/>
      </dsp:txXfrm>
    </dsp:sp>
    <dsp:sp modelId="{F2D44061-3F54-46D3-B092-124DCE2E8121}">
      <dsp:nvSpPr>
        <dsp:cNvPr id="0" name=""/>
        <dsp:cNvSpPr/>
      </dsp:nvSpPr>
      <dsp:spPr>
        <a:xfrm>
          <a:off x="1454608" y="1405738"/>
          <a:ext cx="1211088" cy="365758"/>
        </a:xfrm>
        <a:prstGeom prst="ellipse">
          <a:avLst/>
        </a:prstGeom>
        <a:solidFill>
          <a:schemeClr val="bg2">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bg1"/>
              </a:solidFill>
            </a:rPr>
            <a:t>Delay*</a:t>
          </a:r>
        </a:p>
      </dsp:txBody>
      <dsp:txXfrm>
        <a:off x="1631968" y="1459302"/>
        <a:ext cx="856368" cy="2586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3A0DF8-B189-4EDA-928D-B026171DAD90}">
      <dsp:nvSpPr>
        <dsp:cNvPr id="0" name=""/>
        <dsp:cNvSpPr/>
      </dsp:nvSpPr>
      <dsp:spPr>
        <a:xfrm>
          <a:off x="2398822" y="5112706"/>
          <a:ext cx="1030178" cy="91440"/>
        </a:xfrm>
        <a:custGeom>
          <a:avLst/>
          <a:gdLst/>
          <a:ahLst/>
          <a:cxnLst/>
          <a:rect l="0" t="0" r="0" b="0"/>
          <a:pathLst>
            <a:path>
              <a:moveTo>
                <a:pt x="0" y="45720"/>
              </a:moveTo>
              <a:lnTo>
                <a:pt x="1030178"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7B81495F-33BB-448D-B55F-1F3EA6A5E543}">
      <dsp:nvSpPr>
        <dsp:cNvPr id="0" name=""/>
        <dsp:cNvSpPr/>
      </dsp:nvSpPr>
      <dsp:spPr>
        <a:xfrm>
          <a:off x="4346386" y="4823775"/>
          <a:ext cx="1140017" cy="191799"/>
        </a:xfrm>
        <a:custGeom>
          <a:avLst/>
          <a:gdLst/>
          <a:ahLst/>
          <a:cxnLst/>
          <a:rect l="0" t="0" r="0" b="0"/>
          <a:pathLst>
            <a:path>
              <a:moveTo>
                <a:pt x="0" y="0"/>
              </a:moveTo>
              <a:lnTo>
                <a:pt x="1048278" y="0"/>
              </a:lnTo>
              <a:lnTo>
                <a:pt x="1048278" y="191799"/>
              </a:lnTo>
              <a:lnTo>
                <a:pt x="1140017" y="191799"/>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3C1A2501-9F7B-4F3E-A068-160271F1438C}">
      <dsp:nvSpPr>
        <dsp:cNvPr id="0" name=""/>
        <dsp:cNvSpPr/>
      </dsp:nvSpPr>
      <dsp:spPr>
        <a:xfrm>
          <a:off x="2398822" y="4778055"/>
          <a:ext cx="1030178" cy="91440"/>
        </a:xfrm>
        <a:custGeom>
          <a:avLst/>
          <a:gdLst/>
          <a:ahLst/>
          <a:cxnLst/>
          <a:rect l="0" t="0" r="0" b="0"/>
          <a:pathLst>
            <a:path>
              <a:moveTo>
                <a:pt x="0" y="45720"/>
              </a:moveTo>
              <a:lnTo>
                <a:pt x="1030178"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D2F21566-B71B-4DB4-8B71-6AD821F912EA}">
      <dsp:nvSpPr>
        <dsp:cNvPr id="0" name=""/>
        <dsp:cNvSpPr/>
      </dsp:nvSpPr>
      <dsp:spPr>
        <a:xfrm>
          <a:off x="4346386" y="3898502"/>
          <a:ext cx="1140017" cy="193125"/>
        </a:xfrm>
        <a:custGeom>
          <a:avLst/>
          <a:gdLst/>
          <a:ahLst/>
          <a:cxnLst/>
          <a:rect l="0" t="0" r="0" b="0"/>
          <a:pathLst>
            <a:path>
              <a:moveTo>
                <a:pt x="0" y="193125"/>
              </a:moveTo>
              <a:lnTo>
                <a:pt x="1048278" y="193125"/>
              </a:lnTo>
              <a:lnTo>
                <a:pt x="1048278" y="0"/>
              </a:lnTo>
              <a:lnTo>
                <a:pt x="1140017" y="0"/>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38A77848-2E57-4687-A6E6-6C91FAAE6A5E}">
      <dsp:nvSpPr>
        <dsp:cNvPr id="0" name=""/>
        <dsp:cNvSpPr/>
      </dsp:nvSpPr>
      <dsp:spPr>
        <a:xfrm>
          <a:off x="2398822" y="4045907"/>
          <a:ext cx="1030178" cy="91440"/>
        </a:xfrm>
        <a:custGeom>
          <a:avLst/>
          <a:gdLst/>
          <a:ahLst/>
          <a:cxnLst/>
          <a:rect l="0" t="0" r="0" b="0"/>
          <a:pathLst>
            <a:path>
              <a:moveTo>
                <a:pt x="0" y="45720"/>
              </a:moveTo>
              <a:lnTo>
                <a:pt x="1030178"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84F78CD9-9F9D-4D64-A026-AF50DDC2F137}">
      <dsp:nvSpPr>
        <dsp:cNvPr id="0" name=""/>
        <dsp:cNvSpPr/>
      </dsp:nvSpPr>
      <dsp:spPr>
        <a:xfrm>
          <a:off x="2398822" y="3711253"/>
          <a:ext cx="1030178" cy="91440"/>
        </a:xfrm>
        <a:custGeom>
          <a:avLst/>
          <a:gdLst/>
          <a:ahLst/>
          <a:cxnLst/>
          <a:rect l="0" t="0" r="0" b="0"/>
          <a:pathLst>
            <a:path>
              <a:moveTo>
                <a:pt x="0" y="45720"/>
              </a:moveTo>
              <a:lnTo>
                <a:pt x="1030178"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25C2574F-6633-42E9-9DE8-5FC0DBDAE680}">
      <dsp:nvSpPr>
        <dsp:cNvPr id="0" name=""/>
        <dsp:cNvSpPr/>
      </dsp:nvSpPr>
      <dsp:spPr>
        <a:xfrm>
          <a:off x="2398822" y="2902907"/>
          <a:ext cx="1030178" cy="91440"/>
        </a:xfrm>
        <a:custGeom>
          <a:avLst/>
          <a:gdLst/>
          <a:ahLst/>
          <a:cxnLst/>
          <a:rect l="0" t="0" r="0" b="0"/>
          <a:pathLst>
            <a:path>
              <a:moveTo>
                <a:pt x="0" y="45720"/>
              </a:moveTo>
              <a:lnTo>
                <a:pt x="1030178"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88CBFC17-B32F-40BB-A01F-845BE2F3B3D2}">
      <dsp:nvSpPr>
        <dsp:cNvPr id="0" name=""/>
        <dsp:cNvSpPr/>
      </dsp:nvSpPr>
      <dsp:spPr>
        <a:xfrm>
          <a:off x="4346386" y="2613973"/>
          <a:ext cx="1140017" cy="198866"/>
        </a:xfrm>
        <a:custGeom>
          <a:avLst/>
          <a:gdLst/>
          <a:ahLst/>
          <a:cxnLst/>
          <a:rect l="0" t="0" r="0" b="0"/>
          <a:pathLst>
            <a:path>
              <a:moveTo>
                <a:pt x="0" y="0"/>
              </a:moveTo>
              <a:lnTo>
                <a:pt x="1048278" y="0"/>
              </a:lnTo>
              <a:lnTo>
                <a:pt x="1048278" y="198866"/>
              </a:lnTo>
              <a:lnTo>
                <a:pt x="1140017" y="198866"/>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F580550D-7334-4B9E-95B2-51BB673FC8D1}">
      <dsp:nvSpPr>
        <dsp:cNvPr id="0" name=""/>
        <dsp:cNvSpPr/>
      </dsp:nvSpPr>
      <dsp:spPr>
        <a:xfrm>
          <a:off x="2398822" y="2568253"/>
          <a:ext cx="1030178" cy="91440"/>
        </a:xfrm>
        <a:custGeom>
          <a:avLst/>
          <a:gdLst/>
          <a:ahLst/>
          <a:cxnLst/>
          <a:rect l="0" t="0" r="0" b="0"/>
          <a:pathLst>
            <a:path>
              <a:moveTo>
                <a:pt x="0" y="45720"/>
              </a:moveTo>
              <a:lnTo>
                <a:pt x="1030178"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9484AD96-A6D5-4748-969C-E4B92A970937}">
      <dsp:nvSpPr>
        <dsp:cNvPr id="0" name=""/>
        <dsp:cNvSpPr/>
      </dsp:nvSpPr>
      <dsp:spPr>
        <a:xfrm>
          <a:off x="2398822" y="1759907"/>
          <a:ext cx="1030178" cy="91440"/>
        </a:xfrm>
        <a:custGeom>
          <a:avLst/>
          <a:gdLst/>
          <a:ahLst/>
          <a:cxnLst/>
          <a:rect l="0" t="0" r="0" b="0"/>
          <a:pathLst>
            <a:path>
              <a:moveTo>
                <a:pt x="0" y="45720"/>
              </a:moveTo>
              <a:lnTo>
                <a:pt x="1030178"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13B287E4-143C-46B8-BB97-EE4AB23BB594}">
      <dsp:nvSpPr>
        <dsp:cNvPr id="0" name=""/>
        <dsp:cNvSpPr/>
      </dsp:nvSpPr>
      <dsp:spPr>
        <a:xfrm>
          <a:off x="4346386" y="1470973"/>
          <a:ext cx="1175336" cy="100286"/>
        </a:xfrm>
        <a:custGeom>
          <a:avLst/>
          <a:gdLst/>
          <a:ahLst/>
          <a:cxnLst/>
          <a:rect l="0" t="0" r="0" b="0"/>
          <a:pathLst>
            <a:path>
              <a:moveTo>
                <a:pt x="0" y="0"/>
              </a:moveTo>
              <a:lnTo>
                <a:pt x="1083597" y="0"/>
              </a:lnTo>
              <a:lnTo>
                <a:pt x="1083597" y="100286"/>
              </a:lnTo>
              <a:lnTo>
                <a:pt x="1175336" y="100286"/>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8FC2B97D-DB59-4737-9207-C815A23BF65E}">
      <dsp:nvSpPr>
        <dsp:cNvPr id="0" name=""/>
        <dsp:cNvSpPr/>
      </dsp:nvSpPr>
      <dsp:spPr>
        <a:xfrm>
          <a:off x="2398822" y="1425253"/>
          <a:ext cx="1030178" cy="91440"/>
        </a:xfrm>
        <a:custGeom>
          <a:avLst/>
          <a:gdLst/>
          <a:ahLst/>
          <a:cxnLst/>
          <a:rect l="0" t="0" r="0" b="0"/>
          <a:pathLst>
            <a:path>
              <a:moveTo>
                <a:pt x="0" y="45720"/>
              </a:moveTo>
              <a:lnTo>
                <a:pt x="1030178"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E5C0F204-0BA5-475D-BA78-58C4F5296014}">
      <dsp:nvSpPr>
        <dsp:cNvPr id="0" name=""/>
        <dsp:cNvSpPr/>
      </dsp:nvSpPr>
      <dsp:spPr>
        <a:xfrm>
          <a:off x="2398822" y="616907"/>
          <a:ext cx="1030178" cy="91440"/>
        </a:xfrm>
        <a:custGeom>
          <a:avLst/>
          <a:gdLst/>
          <a:ahLst/>
          <a:cxnLst/>
          <a:rect l="0" t="0" r="0" b="0"/>
          <a:pathLst>
            <a:path>
              <a:moveTo>
                <a:pt x="0" y="45720"/>
              </a:moveTo>
              <a:lnTo>
                <a:pt x="1030178"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1D238B17-4702-4BC2-BE36-EB12789119F6}">
      <dsp:nvSpPr>
        <dsp:cNvPr id="0" name=""/>
        <dsp:cNvSpPr/>
      </dsp:nvSpPr>
      <dsp:spPr>
        <a:xfrm>
          <a:off x="4346386" y="327976"/>
          <a:ext cx="1178327" cy="175576"/>
        </a:xfrm>
        <a:custGeom>
          <a:avLst/>
          <a:gdLst/>
          <a:ahLst/>
          <a:cxnLst/>
          <a:rect l="0" t="0" r="0" b="0"/>
          <a:pathLst>
            <a:path>
              <a:moveTo>
                <a:pt x="0" y="0"/>
              </a:moveTo>
              <a:lnTo>
                <a:pt x="1086588" y="0"/>
              </a:lnTo>
              <a:lnTo>
                <a:pt x="1086588" y="175576"/>
              </a:lnTo>
              <a:lnTo>
                <a:pt x="1178327" y="175576"/>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138DA514-4305-4324-9DD8-A4E5D22470C0}">
      <dsp:nvSpPr>
        <dsp:cNvPr id="0" name=""/>
        <dsp:cNvSpPr/>
      </dsp:nvSpPr>
      <dsp:spPr>
        <a:xfrm>
          <a:off x="2398822" y="282256"/>
          <a:ext cx="1030178" cy="91440"/>
        </a:xfrm>
        <a:custGeom>
          <a:avLst/>
          <a:gdLst/>
          <a:ahLst/>
          <a:cxnLst/>
          <a:rect l="0" t="0" r="0" b="0"/>
          <a:pathLst>
            <a:path>
              <a:moveTo>
                <a:pt x="0" y="45720"/>
              </a:moveTo>
              <a:lnTo>
                <a:pt x="1030178"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CA82278E-F451-4EA7-A79E-93E1B57BBB1F}">
      <dsp:nvSpPr>
        <dsp:cNvPr id="0" name=""/>
        <dsp:cNvSpPr/>
      </dsp:nvSpPr>
      <dsp:spPr>
        <a:xfrm>
          <a:off x="1481436" y="205286"/>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493414" y="217264"/>
        <a:ext cx="893429" cy="221422"/>
      </dsp:txXfrm>
    </dsp:sp>
    <dsp:sp modelId="{D4AD3584-CCC7-4C5D-BA2B-08F7C45B2342}">
      <dsp:nvSpPr>
        <dsp:cNvPr id="0" name=""/>
        <dsp:cNvSpPr/>
      </dsp:nvSpPr>
      <dsp:spPr>
        <a:xfrm>
          <a:off x="3429000" y="122549"/>
          <a:ext cx="917385" cy="410853"/>
        </a:xfrm>
        <a:prstGeom prst="round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lay / denied</a:t>
          </a:r>
        </a:p>
      </dsp:txBody>
      <dsp:txXfrm>
        <a:off x="3449056" y="142605"/>
        <a:ext cx="877273" cy="370741"/>
      </dsp:txXfrm>
    </dsp:sp>
    <dsp:sp modelId="{0EE0040A-1396-415B-8C01-1232BE958866}">
      <dsp:nvSpPr>
        <dsp:cNvPr id="0" name=""/>
        <dsp:cNvSpPr/>
      </dsp:nvSpPr>
      <dsp:spPr>
        <a:xfrm>
          <a:off x="5524713" y="185127"/>
          <a:ext cx="1645918" cy="636850"/>
        </a:xfrm>
        <a:prstGeom prst="chevron">
          <a:avLst/>
        </a:prstGeom>
        <a:solidFill>
          <a:schemeClr val="bg1">
            <a:lumMod val="5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ate moves to Step 2</a:t>
          </a:r>
        </a:p>
      </dsp:txBody>
      <dsp:txXfrm>
        <a:off x="5843138" y="185127"/>
        <a:ext cx="1009068" cy="636850"/>
      </dsp:txXfrm>
    </dsp:sp>
    <dsp:sp modelId="{EBCCF8B9-6E13-4F0A-BE2A-F8631A1C1FC2}">
      <dsp:nvSpPr>
        <dsp:cNvPr id="0" name=""/>
        <dsp:cNvSpPr/>
      </dsp:nvSpPr>
      <dsp:spPr>
        <a:xfrm>
          <a:off x="1481436" y="539938"/>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493414" y="551916"/>
        <a:ext cx="893429" cy="221422"/>
      </dsp:txXfrm>
    </dsp:sp>
    <dsp:sp modelId="{B8AA2A11-64AA-4FE4-9F64-0E4D555198E6}">
      <dsp:nvSpPr>
        <dsp:cNvPr id="0" name=""/>
        <dsp:cNvSpPr/>
      </dsp:nvSpPr>
      <dsp:spPr>
        <a:xfrm>
          <a:off x="3429000" y="457200"/>
          <a:ext cx="917385" cy="410853"/>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nied (</a:t>
          </a:r>
          <a:r>
            <a:rPr lang="en-US" sz="1000" b="1" u="sng" kern="1200" dirty="0">
              <a:solidFill>
                <a:schemeClr val="tx1"/>
              </a:solidFill>
            </a:rPr>
            <a:t>&lt;</a:t>
          </a:r>
          <a:r>
            <a:rPr lang="en-US" sz="1000" b="1" u="none" kern="1200" dirty="0">
              <a:solidFill>
                <a:schemeClr val="tx1"/>
              </a:solidFill>
            </a:rPr>
            <a:t>18</a:t>
          </a:r>
          <a:r>
            <a:rPr lang="en-US" sz="1000" b="1" kern="1200" dirty="0">
              <a:solidFill>
                <a:schemeClr val="tx1"/>
              </a:solidFill>
            </a:rPr>
            <a:t>0 days)</a:t>
          </a:r>
        </a:p>
      </dsp:txBody>
      <dsp:txXfrm>
        <a:off x="3563348" y="517368"/>
        <a:ext cx="648689" cy="290517"/>
      </dsp:txXfrm>
    </dsp:sp>
    <dsp:sp modelId="{9FC8182C-B293-4C29-819C-5B43DEE42D86}">
      <dsp:nvSpPr>
        <dsp:cNvPr id="0" name=""/>
        <dsp:cNvSpPr/>
      </dsp:nvSpPr>
      <dsp:spPr>
        <a:xfrm>
          <a:off x="1481436" y="1348284"/>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493414" y="1360262"/>
        <a:ext cx="893429" cy="221422"/>
      </dsp:txXfrm>
    </dsp:sp>
    <dsp:sp modelId="{3F481A9A-E90C-4996-961E-95AB6F4713AE}">
      <dsp:nvSpPr>
        <dsp:cNvPr id="0" name=""/>
        <dsp:cNvSpPr/>
      </dsp:nvSpPr>
      <dsp:spPr>
        <a:xfrm>
          <a:off x="3429000" y="1265546"/>
          <a:ext cx="917385" cy="410853"/>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nied</a:t>
          </a:r>
        </a:p>
      </dsp:txBody>
      <dsp:txXfrm>
        <a:off x="3563348" y="1325714"/>
        <a:ext cx="648689" cy="290517"/>
      </dsp:txXfrm>
    </dsp:sp>
    <dsp:sp modelId="{819DBB63-9FFA-4E43-A6FD-4C64089534ED}">
      <dsp:nvSpPr>
        <dsp:cNvPr id="0" name=""/>
        <dsp:cNvSpPr/>
      </dsp:nvSpPr>
      <dsp:spPr>
        <a:xfrm>
          <a:off x="5521722" y="1252835"/>
          <a:ext cx="1645918" cy="636850"/>
        </a:xfrm>
        <a:prstGeom prst="chevron">
          <a:avLst/>
        </a:prstGeom>
        <a:solidFill>
          <a:schemeClr val="bg1">
            <a:lumMod val="5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ate moves to Step 2</a:t>
          </a:r>
        </a:p>
      </dsp:txBody>
      <dsp:txXfrm>
        <a:off x="5840147" y="1252835"/>
        <a:ext cx="1009068" cy="636850"/>
      </dsp:txXfrm>
    </dsp:sp>
    <dsp:sp modelId="{66F839EA-1216-4387-BF5F-361D2D94650D}">
      <dsp:nvSpPr>
        <dsp:cNvPr id="0" name=""/>
        <dsp:cNvSpPr/>
      </dsp:nvSpPr>
      <dsp:spPr>
        <a:xfrm>
          <a:off x="1481436" y="1682938"/>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493414" y="1694916"/>
        <a:ext cx="893429" cy="221422"/>
      </dsp:txXfrm>
    </dsp:sp>
    <dsp:sp modelId="{20E39DE7-734B-43EE-83E1-5DA2E5DB6F29}">
      <dsp:nvSpPr>
        <dsp:cNvPr id="0" name=""/>
        <dsp:cNvSpPr/>
      </dsp:nvSpPr>
      <dsp:spPr>
        <a:xfrm>
          <a:off x="3429000" y="1600200"/>
          <a:ext cx="917385" cy="410853"/>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 (</a:t>
          </a:r>
          <a:r>
            <a:rPr lang="en-US" sz="1000" b="1" u="sng" kern="1200" dirty="0">
              <a:solidFill>
                <a:schemeClr val="tx1"/>
              </a:solidFill>
            </a:rPr>
            <a:t>&lt;</a:t>
          </a:r>
          <a:r>
            <a:rPr lang="en-US" sz="1000" b="1" u="none" kern="1200" dirty="0">
              <a:solidFill>
                <a:schemeClr val="tx1"/>
              </a:solidFill>
            </a:rPr>
            <a:t>1</a:t>
          </a:r>
          <a:r>
            <a:rPr lang="en-US" sz="1000" b="1" kern="1200" dirty="0">
              <a:solidFill>
                <a:schemeClr val="tx1"/>
              </a:solidFill>
            </a:rPr>
            <a:t>80 days)</a:t>
          </a:r>
        </a:p>
      </dsp:txBody>
      <dsp:txXfrm>
        <a:off x="3563348" y="1660368"/>
        <a:ext cx="648689" cy="290517"/>
      </dsp:txXfrm>
    </dsp:sp>
    <dsp:sp modelId="{34B92687-26AF-45EB-AA9C-D562FD3F5B8B}">
      <dsp:nvSpPr>
        <dsp:cNvPr id="0" name=""/>
        <dsp:cNvSpPr/>
      </dsp:nvSpPr>
      <dsp:spPr>
        <a:xfrm>
          <a:off x="1481436" y="2491284"/>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493414" y="2503262"/>
        <a:ext cx="893429" cy="221422"/>
      </dsp:txXfrm>
    </dsp:sp>
    <dsp:sp modelId="{4DA49A07-9EA0-48E0-9D38-EEBB3D0A0EA8}">
      <dsp:nvSpPr>
        <dsp:cNvPr id="0" name=""/>
        <dsp:cNvSpPr/>
      </dsp:nvSpPr>
      <dsp:spPr>
        <a:xfrm>
          <a:off x="3429000" y="2408546"/>
          <a:ext cx="917385" cy="410853"/>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a:t>
          </a:r>
        </a:p>
      </dsp:txBody>
      <dsp:txXfrm>
        <a:off x="3563348" y="2468714"/>
        <a:ext cx="648689" cy="290517"/>
      </dsp:txXfrm>
    </dsp:sp>
    <dsp:sp modelId="{185F49BA-0FB4-494E-888E-7DA48969E1D5}">
      <dsp:nvSpPr>
        <dsp:cNvPr id="0" name=""/>
        <dsp:cNvSpPr/>
      </dsp:nvSpPr>
      <dsp:spPr>
        <a:xfrm>
          <a:off x="5486403" y="2447081"/>
          <a:ext cx="1645918" cy="731518"/>
        </a:xfrm>
        <a:prstGeom prst="flowChartDisplay">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Expansion effective once waivers approved, if on or after 01/01/2021</a:t>
          </a:r>
        </a:p>
      </dsp:txBody>
      <dsp:txXfrm>
        <a:off x="5760723" y="2447081"/>
        <a:ext cx="1097278" cy="731518"/>
      </dsp:txXfrm>
    </dsp:sp>
    <dsp:sp modelId="{1493CCFF-D6F7-4055-977E-E02F35F1D3DE}">
      <dsp:nvSpPr>
        <dsp:cNvPr id="0" name=""/>
        <dsp:cNvSpPr/>
      </dsp:nvSpPr>
      <dsp:spPr>
        <a:xfrm>
          <a:off x="1481436" y="2825938"/>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493414" y="2837916"/>
        <a:ext cx="893429" cy="221422"/>
      </dsp:txXfrm>
    </dsp:sp>
    <dsp:sp modelId="{1E5E492B-8977-4BF8-9DC9-D4782DC096AF}">
      <dsp:nvSpPr>
        <dsp:cNvPr id="0" name=""/>
        <dsp:cNvSpPr/>
      </dsp:nvSpPr>
      <dsp:spPr>
        <a:xfrm>
          <a:off x="3429000" y="2743200"/>
          <a:ext cx="917385" cy="410853"/>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 (</a:t>
          </a:r>
          <a:r>
            <a:rPr lang="en-US" sz="1000" b="1" u="sng" kern="1200" dirty="0">
              <a:solidFill>
                <a:schemeClr val="tx1"/>
              </a:solidFill>
            </a:rPr>
            <a:t>&lt;</a:t>
          </a:r>
          <a:r>
            <a:rPr lang="en-US" sz="1000" b="1" u="none" kern="1200" dirty="0">
              <a:solidFill>
                <a:schemeClr val="tx1"/>
              </a:solidFill>
            </a:rPr>
            <a:t>1</a:t>
          </a:r>
          <a:r>
            <a:rPr lang="en-US" sz="1000" b="1" kern="1200" dirty="0">
              <a:solidFill>
                <a:schemeClr val="tx1"/>
              </a:solidFill>
            </a:rPr>
            <a:t>80 days)</a:t>
          </a:r>
        </a:p>
      </dsp:txBody>
      <dsp:txXfrm>
        <a:off x="3563348" y="2803368"/>
        <a:ext cx="648689" cy="290517"/>
      </dsp:txXfrm>
    </dsp:sp>
    <dsp:sp modelId="{E20FA9AC-5869-494E-B466-F33A9C4E61CA}">
      <dsp:nvSpPr>
        <dsp:cNvPr id="0" name=""/>
        <dsp:cNvSpPr/>
      </dsp:nvSpPr>
      <dsp:spPr>
        <a:xfrm>
          <a:off x="1481436" y="3634284"/>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493414" y="3646262"/>
        <a:ext cx="893429" cy="221422"/>
      </dsp:txXfrm>
    </dsp:sp>
    <dsp:sp modelId="{CE2D37E2-D65F-4650-8433-20B5E5B6F000}">
      <dsp:nvSpPr>
        <dsp:cNvPr id="0" name=""/>
        <dsp:cNvSpPr/>
      </dsp:nvSpPr>
      <dsp:spPr>
        <a:xfrm>
          <a:off x="3429000" y="3551546"/>
          <a:ext cx="917385" cy="410853"/>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a:t>
          </a:r>
        </a:p>
      </dsp:txBody>
      <dsp:txXfrm>
        <a:off x="3563348" y="3611714"/>
        <a:ext cx="648689" cy="290517"/>
      </dsp:txXfrm>
    </dsp:sp>
    <dsp:sp modelId="{62A470D0-C165-4541-8F24-C466D65C0EB6}">
      <dsp:nvSpPr>
        <dsp:cNvPr id="0" name=""/>
        <dsp:cNvSpPr/>
      </dsp:nvSpPr>
      <dsp:spPr>
        <a:xfrm>
          <a:off x="1481436" y="3968938"/>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493414" y="3980916"/>
        <a:ext cx="893429" cy="221422"/>
      </dsp:txXfrm>
    </dsp:sp>
    <dsp:sp modelId="{FF3A130B-52BD-4D32-B131-5AD287958039}">
      <dsp:nvSpPr>
        <dsp:cNvPr id="0" name=""/>
        <dsp:cNvSpPr/>
      </dsp:nvSpPr>
      <dsp:spPr>
        <a:xfrm>
          <a:off x="3429000" y="3886201"/>
          <a:ext cx="917385" cy="410853"/>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nied (</a:t>
          </a:r>
          <a:r>
            <a:rPr lang="en-US" sz="1000" b="1" u="sng" kern="1200" dirty="0">
              <a:solidFill>
                <a:schemeClr val="tx1"/>
              </a:solidFill>
            </a:rPr>
            <a:t>&lt;</a:t>
          </a:r>
          <a:r>
            <a:rPr lang="en-US" sz="1000" b="1" u="none" kern="1200" dirty="0">
              <a:solidFill>
                <a:schemeClr val="tx1"/>
              </a:solidFill>
            </a:rPr>
            <a:t>1</a:t>
          </a:r>
          <a:r>
            <a:rPr lang="en-US" sz="1000" b="1" kern="1200" dirty="0">
              <a:solidFill>
                <a:schemeClr val="tx1"/>
              </a:solidFill>
            </a:rPr>
            <a:t>80 days)</a:t>
          </a:r>
        </a:p>
      </dsp:txBody>
      <dsp:txXfrm>
        <a:off x="3563348" y="3946369"/>
        <a:ext cx="648689" cy="290517"/>
      </dsp:txXfrm>
    </dsp:sp>
    <dsp:sp modelId="{099675E6-4990-449E-B27E-40BEA05A83D6}">
      <dsp:nvSpPr>
        <dsp:cNvPr id="0" name=""/>
        <dsp:cNvSpPr/>
      </dsp:nvSpPr>
      <dsp:spPr>
        <a:xfrm>
          <a:off x="5486403" y="3580077"/>
          <a:ext cx="1645918" cy="636850"/>
        </a:xfrm>
        <a:prstGeom prst="chevron">
          <a:avLst/>
        </a:prstGeom>
        <a:solidFill>
          <a:schemeClr val="bg1">
            <a:lumMod val="5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ate moves to Step 2</a:t>
          </a:r>
        </a:p>
      </dsp:txBody>
      <dsp:txXfrm>
        <a:off x="5804828" y="3580077"/>
        <a:ext cx="1009068" cy="636850"/>
      </dsp:txXfrm>
    </dsp:sp>
    <dsp:sp modelId="{7E49BADF-7699-47C5-82B9-00203BAE3D05}">
      <dsp:nvSpPr>
        <dsp:cNvPr id="0" name=""/>
        <dsp:cNvSpPr/>
      </dsp:nvSpPr>
      <dsp:spPr>
        <a:xfrm>
          <a:off x="1481436" y="4701086"/>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493414" y="4713064"/>
        <a:ext cx="893429" cy="221422"/>
      </dsp:txXfrm>
    </dsp:sp>
    <dsp:sp modelId="{C59D1964-10A1-4939-9773-3412B26227FF}">
      <dsp:nvSpPr>
        <dsp:cNvPr id="0" name=""/>
        <dsp:cNvSpPr/>
      </dsp:nvSpPr>
      <dsp:spPr>
        <a:xfrm>
          <a:off x="3429000" y="4618348"/>
          <a:ext cx="917385" cy="410853"/>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lay</a:t>
          </a:r>
        </a:p>
      </dsp:txBody>
      <dsp:txXfrm>
        <a:off x="3429000" y="4618348"/>
        <a:ext cx="917385" cy="410853"/>
      </dsp:txXfrm>
    </dsp:sp>
    <dsp:sp modelId="{AB977356-973A-4AF3-B9BD-6DE402EA5DD9}">
      <dsp:nvSpPr>
        <dsp:cNvPr id="0" name=""/>
        <dsp:cNvSpPr/>
      </dsp:nvSpPr>
      <dsp:spPr>
        <a:xfrm>
          <a:off x="5486403" y="4697149"/>
          <a:ext cx="1645918" cy="636850"/>
        </a:xfrm>
        <a:prstGeom prst="flowChartDisplay">
          <a:avLst/>
        </a:prstGeom>
        <a:solidFill>
          <a:srgbClr val="FFC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lay</a:t>
          </a:r>
        </a:p>
      </dsp:txBody>
      <dsp:txXfrm>
        <a:off x="5760723" y="4697149"/>
        <a:ext cx="1097278" cy="636850"/>
      </dsp:txXfrm>
    </dsp:sp>
    <dsp:sp modelId="{55C73A3A-F559-4CFF-B10F-92972CF5F897}">
      <dsp:nvSpPr>
        <dsp:cNvPr id="0" name=""/>
        <dsp:cNvSpPr/>
      </dsp:nvSpPr>
      <dsp:spPr>
        <a:xfrm>
          <a:off x="1481436" y="5035737"/>
          <a:ext cx="917385" cy="245378"/>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493414" y="5047715"/>
        <a:ext cx="893429" cy="221422"/>
      </dsp:txXfrm>
    </dsp:sp>
    <dsp:sp modelId="{5BF27B3F-FE56-482B-A094-9C17F8FB509D}">
      <dsp:nvSpPr>
        <dsp:cNvPr id="0" name=""/>
        <dsp:cNvSpPr/>
      </dsp:nvSpPr>
      <dsp:spPr>
        <a:xfrm>
          <a:off x="3429000" y="4952999"/>
          <a:ext cx="917385" cy="410853"/>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 (</a:t>
          </a:r>
          <a:r>
            <a:rPr lang="en-US" sz="1000" b="1" u="sng" kern="1200" dirty="0">
              <a:solidFill>
                <a:schemeClr val="tx1"/>
              </a:solidFill>
            </a:rPr>
            <a:t>&lt;1</a:t>
          </a:r>
          <a:r>
            <a:rPr lang="en-US" sz="1000" b="1" kern="1200" dirty="0">
              <a:solidFill>
                <a:schemeClr val="tx1"/>
              </a:solidFill>
            </a:rPr>
            <a:t>80 days)</a:t>
          </a:r>
          <a:endParaRPr lang="en-US" sz="1000" b="1" u="sng" kern="1200" dirty="0">
            <a:solidFill>
              <a:schemeClr val="tx1"/>
            </a:solidFill>
          </a:endParaRPr>
        </a:p>
      </dsp:txBody>
      <dsp:txXfrm>
        <a:off x="3563348" y="5013167"/>
        <a:ext cx="648689" cy="29051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3A0DF8-B189-4EDA-928D-B026171DAD90}">
      <dsp:nvSpPr>
        <dsp:cNvPr id="0" name=""/>
        <dsp:cNvSpPr/>
      </dsp:nvSpPr>
      <dsp:spPr>
        <a:xfrm>
          <a:off x="2169148" y="5114543"/>
          <a:ext cx="1256746" cy="91440"/>
        </a:xfrm>
        <a:custGeom>
          <a:avLst/>
          <a:gdLst/>
          <a:ahLst/>
          <a:cxnLst/>
          <a:rect l="0" t="0" r="0" b="0"/>
          <a:pathLst>
            <a:path>
              <a:moveTo>
                <a:pt x="0" y="45720"/>
              </a:moveTo>
              <a:lnTo>
                <a:pt x="1256746"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7B81495F-33BB-448D-B55F-1F3EA6A5E543}">
      <dsp:nvSpPr>
        <dsp:cNvPr id="0" name=""/>
        <dsp:cNvSpPr/>
      </dsp:nvSpPr>
      <dsp:spPr>
        <a:xfrm>
          <a:off x="4343978" y="4825357"/>
          <a:ext cx="1066225" cy="191945"/>
        </a:xfrm>
        <a:custGeom>
          <a:avLst/>
          <a:gdLst/>
          <a:ahLst/>
          <a:cxnLst/>
          <a:rect l="0" t="0" r="0" b="0"/>
          <a:pathLst>
            <a:path>
              <a:moveTo>
                <a:pt x="0" y="0"/>
              </a:moveTo>
              <a:lnTo>
                <a:pt x="974417" y="0"/>
              </a:lnTo>
              <a:lnTo>
                <a:pt x="974417" y="191945"/>
              </a:lnTo>
              <a:lnTo>
                <a:pt x="1066225" y="191945"/>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3C1A2501-9F7B-4F3E-A068-160271F1438C}">
      <dsp:nvSpPr>
        <dsp:cNvPr id="0" name=""/>
        <dsp:cNvSpPr/>
      </dsp:nvSpPr>
      <dsp:spPr>
        <a:xfrm>
          <a:off x="2169148" y="4779637"/>
          <a:ext cx="1256746" cy="91440"/>
        </a:xfrm>
        <a:custGeom>
          <a:avLst/>
          <a:gdLst/>
          <a:ahLst/>
          <a:cxnLst/>
          <a:rect l="0" t="0" r="0" b="0"/>
          <a:pathLst>
            <a:path>
              <a:moveTo>
                <a:pt x="0" y="45720"/>
              </a:moveTo>
              <a:lnTo>
                <a:pt x="1256746"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D2F21566-B71B-4DB4-8B71-6AD821F912EA}">
      <dsp:nvSpPr>
        <dsp:cNvPr id="0" name=""/>
        <dsp:cNvSpPr/>
      </dsp:nvSpPr>
      <dsp:spPr>
        <a:xfrm>
          <a:off x="4343978" y="3899381"/>
          <a:ext cx="1066225" cy="193272"/>
        </a:xfrm>
        <a:custGeom>
          <a:avLst/>
          <a:gdLst/>
          <a:ahLst/>
          <a:cxnLst/>
          <a:rect l="0" t="0" r="0" b="0"/>
          <a:pathLst>
            <a:path>
              <a:moveTo>
                <a:pt x="0" y="193272"/>
              </a:moveTo>
              <a:lnTo>
                <a:pt x="974417" y="193272"/>
              </a:lnTo>
              <a:lnTo>
                <a:pt x="974417" y="0"/>
              </a:lnTo>
              <a:lnTo>
                <a:pt x="1066225" y="0"/>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38A77848-2E57-4687-A6E6-6C91FAAE6A5E}">
      <dsp:nvSpPr>
        <dsp:cNvPr id="0" name=""/>
        <dsp:cNvSpPr/>
      </dsp:nvSpPr>
      <dsp:spPr>
        <a:xfrm>
          <a:off x="2169148" y="4046933"/>
          <a:ext cx="1256746" cy="91440"/>
        </a:xfrm>
        <a:custGeom>
          <a:avLst/>
          <a:gdLst/>
          <a:ahLst/>
          <a:cxnLst/>
          <a:rect l="0" t="0" r="0" b="0"/>
          <a:pathLst>
            <a:path>
              <a:moveTo>
                <a:pt x="0" y="45720"/>
              </a:moveTo>
              <a:lnTo>
                <a:pt x="1256746"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84F78CD9-9F9D-4D64-A026-AF50DDC2F137}">
      <dsp:nvSpPr>
        <dsp:cNvPr id="0" name=""/>
        <dsp:cNvSpPr/>
      </dsp:nvSpPr>
      <dsp:spPr>
        <a:xfrm>
          <a:off x="2169148" y="3712024"/>
          <a:ext cx="1256746" cy="91440"/>
        </a:xfrm>
        <a:custGeom>
          <a:avLst/>
          <a:gdLst/>
          <a:ahLst/>
          <a:cxnLst/>
          <a:rect l="0" t="0" r="0" b="0"/>
          <a:pathLst>
            <a:path>
              <a:moveTo>
                <a:pt x="0" y="45720"/>
              </a:moveTo>
              <a:lnTo>
                <a:pt x="1256746"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25C2574F-6633-42E9-9DE8-5FC0DBDAE680}">
      <dsp:nvSpPr>
        <dsp:cNvPr id="0" name=""/>
        <dsp:cNvSpPr/>
      </dsp:nvSpPr>
      <dsp:spPr>
        <a:xfrm>
          <a:off x="2169148" y="2903064"/>
          <a:ext cx="1256746" cy="91440"/>
        </a:xfrm>
        <a:custGeom>
          <a:avLst/>
          <a:gdLst/>
          <a:ahLst/>
          <a:cxnLst/>
          <a:rect l="0" t="0" r="0" b="0"/>
          <a:pathLst>
            <a:path>
              <a:moveTo>
                <a:pt x="0" y="45720"/>
              </a:moveTo>
              <a:lnTo>
                <a:pt x="1256746"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88CBFC17-B32F-40BB-A01F-845BE2F3B3D2}">
      <dsp:nvSpPr>
        <dsp:cNvPr id="0" name=""/>
        <dsp:cNvSpPr/>
      </dsp:nvSpPr>
      <dsp:spPr>
        <a:xfrm>
          <a:off x="4343978" y="2613875"/>
          <a:ext cx="1066225" cy="199018"/>
        </a:xfrm>
        <a:custGeom>
          <a:avLst/>
          <a:gdLst/>
          <a:ahLst/>
          <a:cxnLst/>
          <a:rect l="0" t="0" r="0" b="0"/>
          <a:pathLst>
            <a:path>
              <a:moveTo>
                <a:pt x="0" y="0"/>
              </a:moveTo>
              <a:lnTo>
                <a:pt x="974417" y="0"/>
              </a:lnTo>
              <a:lnTo>
                <a:pt x="974417" y="199018"/>
              </a:lnTo>
              <a:lnTo>
                <a:pt x="1066225" y="199018"/>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F580550D-7334-4B9E-95B2-51BB673FC8D1}">
      <dsp:nvSpPr>
        <dsp:cNvPr id="0" name=""/>
        <dsp:cNvSpPr/>
      </dsp:nvSpPr>
      <dsp:spPr>
        <a:xfrm>
          <a:off x="2169148" y="2568155"/>
          <a:ext cx="1256746" cy="91440"/>
        </a:xfrm>
        <a:custGeom>
          <a:avLst/>
          <a:gdLst/>
          <a:ahLst/>
          <a:cxnLst/>
          <a:rect l="0" t="0" r="0" b="0"/>
          <a:pathLst>
            <a:path>
              <a:moveTo>
                <a:pt x="0" y="45720"/>
              </a:moveTo>
              <a:lnTo>
                <a:pt x="1256746"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9484AD96-A6D5-4748-969C-E4B92A970937}">
      <dsp:nvSpPr>
        <dsp:cNvPr id="0" name=""/>
        <dsp:cNvSpPr/>
      </dsp:nvSpPr>
      <dsp:spPr>
        <a:xfrm>
          <a:off x="2169148" y="1759194"/>
          <a:ext cx="1256746" cy="91440"/>
        </a:xfrm>
        <a:custGeom>
          <a:avLst/>
          <a:gdLst/>
          <a:ahLst/>
          <a:cxnLst/>
          <a:rect l="0" t="0" r="0" b="0"/>
          <a:pathLst>
            <a:path>
              <a:moveTo>
                <a:pt x="0" y="45720"/>
              </a:moveTo>
              <a:lnTo>
                <a:pt x="1256746"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13B287E4-143C-46B8-BB97-EE4AB23BB594}">
      <dsp:nvSpPr>
        <dsp:cNvPr id="0" name=""/>
        <dsp:cNvSpPr/>
      </dsp:nvSpPr>
      <dsp:spPr>
        <a:xfrm>
          <a:off x="4343978" y="1470006"/>
          <a:ext cx="1066225" cy="100363"/>
        </a:xfrm>
        <a:custGeom>
          <a:avLst/>
          <a:gdLst/>
          <a:ahLst/>
          <a:cxnLst/>
          <a:rect l="0" t="0" r="0" b="0"/>
          <a:pathLst>
            <a:path>
              <a:moveTo>
                <a:pt x="0" y="0"/>
              </a:moveTo>
              <a:lnTo>
                <a:pt x="974417" y="0"/>
              </a:lnTo>
              <a:lnTo>
                <a:pt x="974417" y="100363"/>
              </a:lnTo>
              <a:lnTo>
                <a:pt x="1066225" y="100363"/>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8FC2B97D-DB59-4737-9207-C815A23BF65E}">
      <dsp:nvSpPr>
        <dsp:cNvPr id="0" name=""/>
        <dsp:cNvSpPr/>
      </dsp:nvSpPr>
      <dsp:spPr>
        <a:xfrm>
          <a:off x="2169148" y="1424286"/>
          <a:ext cx="1256746" cy="91440"/>
        </a:xfrm>
        <a:custGeom>
          <a:avLst/>
          <a:gdLst/>
          <a:ahLst/>
          <a:cxnLst/>
          <a:rect l="0" t="0" r="0" b="0"/>
          <a:pathLst>
            <a:path>
              <a:moveTo>
                <a:pt x="0" y="45720"/>
              </a:moveTo>
              <a:lnTo>
                <a:pt x="1256746"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E5C0F204-0BA5-475D-BA78-58C4F5296014}">
      <dsp:nvSpPr>
        <dsp:cNvPr id="0" name=""/>
        <dsp:cNvSpPr/>
      </dsp:nvSpPr>
      <dsp:spPr>
        <a:xfrm>
          <a:off x="2169148" y="615325"/>
          <a:ext cx="1256746" cy="91440"/>
        </a:xfrm>
        <a:custGeom>
          <a:avLst/>
          <a:gdLst/>
          <a:ahLst/>
          <a:cxnLst/>
          <a:rect l="0" t="0" r="0" b="0"/>
          <a:pathLst>
            <a:path>
              <a:moveTo>
                <a:pt x="0" y="45720"/>
              </a:moveTo>
              <a:lnTo>
                <a:pt x="1256746"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1D238B17-4702-4BC2-BE36-EB12789119F6}">
      <dsp:nvSpPr>
        <dsp:cNvPr id="0" name=""/>
        <dsp:cNvSpPr/>
      </dsp:nvSpPr>
      <dsp:spPr>
        <a:xfrm>
          <a:off x="4343978" y="326139"/>
          <a:ext cx="1066225" cy="175709"/>
        </a:xfrm>
        <a:custGeom>
          <a:avLst/>
          <a:gdLst/>
          <a:ahLst/>
          <a:cxnLst/>
          <a:rect l="0" t="0" r="0" b="0"/>
          <a:pathLst>
            <a:path>
              <a:moveTo>
                <a:pt x="0" y="0"/>
              </a:moveTo>
              <a:lnTo>
                <a:pt x="974417" y="0"/>
              </a:lnTo>
              <a:lnTo>
                <a:pt x="974417" y="175709"/>
              </a:lnTo>
              <a:lnTo>
                <a:pt x="1066225" y="175709"/>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138DA514-4305-4324-9DD8-A4E5D22470C0}">
      <dsp:nvSpPr>
        <dsp:cNvPr id="0" name=""/>
        <dsp:cNvSpPr/>
      </dsp:nvSpPr>
      <dsp:spPr>
        <a:xfrm>
          <a:off x="2169148" y="280419"/>
          <a:ext cx="1256746" cy="91440"/>
        </a:xfrm>
        <a:custGeom>
          <a:avLst/>
          <a:gdLst/>
          <a:ahLst/>
          <a:cxnLst/>
          <a:rect l="0" t="0" r="0" b="0"/>
          <a:pathLst>
            <a:path>
              <a:moveTo>
                <a:pt x="0" y="45720"/>
              </a:moveTo>
              <a:lnTo>
                <a:pt x="1256746"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CA82278E-F451-4EA7-A79E-93E1B57BBB1F}">
      <dsp:nvSpPr>
        <dsp:cNvPr id="0" name=""/>
        <dsp:cNvSpPr/>
      </dsp:nvSpPr>
      <dsp:spPr>
        <a:xfrm>
          <a:off x="1251065" y="203356"/>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263052" y="215343"/>
        <a:ext cx="894109" cy="221591"/>
      </dsp:txXfrm>
    </dsp:sp>
    <dsp:sp modelId="{D4AD3584-CCC7-4C5D-BA2B-08F7C45B2342}">
      <dsp:nvSpPr>
        <dsp:cNvPr id="0" name=""/>
        <dsp:cNvSpPr/>
      </dsp:nvSpPr>
      <dsp:spPr>
        <a:xfrm>
          <a:off x="3425895" y="120556"/>
          <a:ext cx="918083" cy="411166"/>
        </a:xfrm>
        <a:prstGeom prst="round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lay / denied</a:t>
          </a:r>
        </a:p>
      </dsp:txBody>
      <dsp:txXfrm>
        <a:off x="3445966" y="140627"/>
        <a:ext cx="877941" cy="371024"/>
      </dsp:txXfrm>
    </dsp:sp>
    <dsp:sp modelId="{0EE0040A-1396-415B-8C01-1232BE958866}">
      <dsp:nvSpPr>
        <dsp:cNvPr id="0" name=""/>
        <dsp:cNvSpPr/>
      </dsp:nvSpPr>
      <dsp:spPr>
        <a:xfrm>
          <a:off x="5410203" y="183181"/>
          <a:ext cx="1647170" cy="637334"/>
        </a:xfrm>
        <a:prstGeom prst="chevron">
          <a:avLst/>
        </a:prstGeom>
        <a:solidFill>
          <a:schemeClr val="bg1">
            <a:lumMod val="5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ate moves to Step 3</a:t>
          </a:r>
        </a:p>
      </dsp:txBody>
      <dsp:txXfrm>
        <a:off x="5728870" y="183181"/>
        <a:ext cx="1009836" cy="637334"/>
      </dsp:txXfrm>
    </dsp:sp>
    <dsp:sp modelId="{EBCCF8B9-6E13-4F0A-BE2A-F8631A1C1FC2}">
      <dsp:nvSpPr>
        <dsp:cNvPr id="0" name=""/>
        <dsp:cNvSpPr/>
      </dsp:nvSpPr>
      <dsp:spPr>
        <a:xfrm>
          <a:off x="1251065" y="538262"/>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263052" y="550249"/>
        <a:ext cx="894109" cy="221591"/>
      </dsp:txXfrm>
    </dsp:sp>
    <dsp:sp modelId="{B8AA2A11-64AA-4FE4-9F64-0E4D555198E6}">
      <dsp:nvSpPr>
        <dsp:cNvPr id="0" name=""/>
        <dsp:cNvSpPr/>
      </dsp:nvSpPr>
      <dsp:spPr>
        <a:xfrm>
          <a:off x="3425895" y="455462"/>
          <a:ext cx="918083" cy="411166"/>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nied (</a:t>
          </a:r>
          <a:r>
            <a:rPr lang="en-US" sz="1000" b="1" u="sng" kern="1200" dirty="0">
              <a:solidFill>
                <a:schemeClr val="tx1"/>
              </a:solidFill>
            </a:rPr>
            <a:t>&lt;1</a:t>
          </a:r>
          <a:r>
            <a:rPr lang="en-US" sz="1000" b="1" kern="1200" dirty="0">
              <a:solidFill>
                <a:schemeClr val="tx1"/>
              </a:solidFill>
            </a:rPr>
            <a:t>80 days)</a:t>
          </a:r>
        </a:p>
      </dsp:txBody>
      <dsp:txXfrm>
        <a:off x="3560345" y="515676"/>
        <a:ext cx="649183" cy="290738"/>
      </dsp:txXfrm>
    </dsp:sp>
    <dsp:sp modelId="{9FC8182C-B293-4C29-819C-5B43DEE42D86}">
      <dsp:nvSpPr>
        <dsp:cNvPr id="0" name=""/>
        <dsp:cNvSpPr/>
      </dsp:nvSpPr>
      <dsp:spPr>
        <a:xfrm>
          <a:off x="1251065" y="1347223"/>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263052" y="1359210"/>
        <a:ext cx="894109" cy="221591"/>
      </dsp:txXfrm>
    </dsp:sp>
    <dsp:sp modelId="{3F481A9A-E90C-4996-961E-95AB6F4713AE}">
      <dsp:nvSpPr>
        <dsp:cNvPr id="0" name=""/>
        <dsp:cNvSpPr/>
      </dsp:nvSpPr>
      <dsp:spPr>
        <a:xfrm>
          <a:off x="3425895" y="1264422"/>
          <a:ext cx="918083" cy="411166"/>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a:t>
          </a:r>
        </a:p>
      </dsp:txBody>
      <dsp:txXfrm>
        <a:off x="3560345" y="1324636"/>
        <a:ext cx="649183" cy="290738"/>
      </dsp:txXfrm>
    </dsp:sp>
    <dsp:sp modelId="{819DBB63-9FFA-4E43-A6FD-4C64089534ED}">
      <dsp:nvSpPr>
        <dsp:cNvPr id="0" name=""/>
        <dsp:cNvSpPr/>
      </dsp:nvSpPr>
      <dsp:spPr>
        <a:xfrm>
          <a:off x="5410203" y="1251701"/>
          <a:ext cx="1647170" cy="637334"/>
        </a:xfrm>
        <a:prstGeom prst="chevron">
          <a:avLst/>
        </a:prstGeom>
        <a:solidFill>
          <a:schemeClr val="bg1">
            <a:lumMod val="5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ate moves to Step 3</a:t>
          </a:r>
        </a:p>
      </dsp:txBody>
      <dsp:txXfrm>
        <a:off x="5728870" y="1251701"/>
        <a:ext cx="1009836" cy="637334"/>
      </dsp:txXfrm>
    </dsp:sp>
    <dsp:sp modelId="{66F839EA-1216-4387-BF5F-361D2D94650D}">
      <dsp:nvSpPr>
        <dsp:cNvPr id="0" name=""/>
        <dsp:cNvSpPr/>
      </dsp:nvSpPr>
      <dsp:spPr>
        <a:xfrm>
          <a:off x="1251065" y="1682132"/>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263052" y="1694119"/>
        <a:ext cx="894109" cy="221591"/>
      </dsp:txXfrm>
    </dsp:sp>
    <dsp:sp modelId="{20E39DE7-734B-43EE-83E1-5DA2E5DB6F29}">
      <dsp:nvSpPr>
        <dsp:cNvPr id="0" name=""/>
        <dsp:cNvSpPr/>
      </dsp:nvSpPr>
      <dsp:spPr>
        <a:xfrm>
          <a:off x="3425895" y="1599331"/>
          <a:ext cx="918083" cy="411166"/>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nied (</a:t>
          </a:r>
          <a:r>
            <a:rPr lang="en-US" sz="1000" b="1" u="sng" kern="1200" dirty="0">
              <a:solidFill>
                <a:schemeClr val="tx1"/>
              </a:solidFill>
            </a:rPr>
            <a:t>&lt;</a:t>
          </a:r>
          <a:r>
            <a:rPr lang="en-US" sz="1000" b="1" u="none" kern="1200" dirty="0">
              <a:solidFill>
                <a:schemeClr val="tx1"/>
              </a:solidFill>
            </a:rPr>
            <a:t>1</a:t>
          </a:r>
          <a:r>
            <a:rPr lang="en-US" sz="1000" b="1" kern="1200" dirty="0">
              <a:solidFill>
                <a:schemeClr val="tx1"/>
              </a:solidFill>
            </a:rPr>
            <a:t>80 days)</a:t>
          </a:r>
        </a:p>
      </dsp:txBody>
      <dsp:txXfrm>
        <a:off x="3560345" y="1659545"/>
        <a:ext cx="649183" cy="290738"/>
      </dsp:txXfrm>
    </dsp:sp>
    <dsp:sp modelId="{34B92687-26AF-45EB-AA9C-D562FD3F5B8B}">
      <dsp:nvSpPr>
        <dsp:cNvPr id="0" name=""/>
        <dsp:cNvSpPr/>
      </dsp:nvSpPr>
      <dsp:spPr>
        <a:xfrm>
          <a:off x="1251065" y="2491092"/>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263052" y="2503079"/>
        <a:ext cx="894109" cy="221591"/>
      </dsp:txXfrm>
    </dsp:sp>
    <dsp:sp modelId="{4DA49A07-9EA0-48E0-9D38-EEBB3D0A0EA8}">
      <dsp:nvSpPr>
        <dsp:cNvPr id="0" name=""/>
        <dsp:cNvSpPr/>
      </dsp:nvSpPr>
      <dsp:spPr>
        <a:xfrm>
          <a:off x="3425895" y="2408292"/>
          <a:ext cx="918083" cy="411166"/>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a:t>
          </a:r>
        </a:p>
      </dsp:txBody>
      <dsp:txXfrm>
        <a:off x="3560345" y="2468506"/>
        <a:ext cx="649183" cy="290738"/>
      </dsp:txXfrm>
    </dsp:sp>
    <dsp:sp modelId="{185F49BA-0FB4-494E-888E-7DA48969E1D5}">
      <dsp:nvSpPr>
        <dsp:cNvPr id="0" name=""/>
        <dsp:cNvSpPr/>
      </dsp:nvSpPr>
      <dsp:spPr>
        <a:xfrm>
          <a:off x="5410203" y="2446855"/>
          <a:ext cx="1647170" cy="732075"/>
        </a:xfrm>
        <a:prstGeom prst="flowChartDisplay">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Expansion effective once waiver approved, if on or after 01/01/2021</a:t>
          </a:r>
        </a:p>
      </dsp:txBody>
      <dsp:txXfrm>
        <a:off x="5684731" y="2446855"/>
        <a:ext cx="1098114" cy="732075"/>
      </dsp:txXfrm>
    </dsp:sp>
    <dsp:sp modelId="{1493CCFF-D6F7-4055-977E-E02F35F1D3DE}">
      <dsp:nvSpPr>
        <dsp:cNvPr id="0" name=""/>
        <dsp:cNvSpPr/>
      </dsp:nvSpPr>
      <dsp:spPr>
        <a:xfrm>
          <a:off x="1251065" y="2826001"/>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263052" y="2837988"/>
        <a:ext cx="894109" cy="221591"/>
      </dsp:txXfrm>
    </dsp:sp>
    <dsp:sp modelId="{1E5E492B-8977-4BF8-9DC9-D4782DC096AF}">
      <dsp:nvSpPr>
        <dsp:cNvPr id="0" name=""/>
        <dsp:cNvSpPr/>
      </dsp:nvSpPr>
      <dsp:spPr>
        <a:xfrm>
          <a:off x="3425895" y="2743200"/>
          <a:ext cx="918083" cy="411166"/>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 (</a:t>
          </a:r>
          <a:r>
            <a:rPr lang="en-US" sz="1000" b="1" u="sng" kern="1200" dirty="0">
              <a:solidFill>
                <a:schemeClr val="tx1"/>
              </a:solidFill>
            </a:rPr>
            <a:t>&lt;</a:t>
          </a:r>
          <a:r>
            <a:rPr lang="en-US" sz="1000" b="1" u="none" kern="1200" dirty="0">
              <a:solidFill>
                <a:schemeClr val="tx1"/>
              </a:solidFill>
            </a:rPr>
            <a:t>1</a:t>
          </a:r>
          <a:r>
            <a:rPr lang="en-US" sz="1000" b="1" kern="1200" dirty="0">
              <a:solidFill>
                <a:schemeClr val="tx1"/>
              </a:solidFill>
            </a:rPr>
            <a:t>80 days)</a:t>
          </a:r>
        </a:p>
      </dsp:txBody>
      <dsp:txXfrm>
        <a:off x="3560345" y="2803414"/>
        <a:ext cx="649183" cy="290738"/>
      </dsp:txXfrm>
    </dsp:sp>
    <dsp:sp modelId="{E20FA9AC-5869-494E-B466-F33A9C4E61CA}">
      <dsp:nvSpPr>
        <dsp:cNvPr id="0" name=""/>
        <dsp:cNvSpPr/>
      </dsp:nvSpPr>
      <dsp:spPr>
        <a:xfrm>
          <a:off x="1251065" y="3634962"/>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263052" y="3646949"/>
        <a:ext cx="894109" cy="221591"/>
      </dsp:txXfrm>
    </dsp:sp>
    <dsp:sp modelId="{CE2D37E2-D65F-4650-8433-20B5E5B6F000}">
      <dsp:nvSpPr>
        <dsp:cNvPr id="0" name=""/>
        <dsp:cNvSpPr/>
      </dsp:nvSpPr>
      <dsp:spPr>
        <a:xfrm>
          <a:off x="3425895" y="3552161"/>
          <a:ext cx="918083" cy="411166"/>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nied</a:t>
          </a:r>
        </a:p>
      </dsp:txBody>
      <dsp:txXfrm>
        <a:off x="3560345" y="3612375"/>
        <a:ext cx="649183" cy="290738"/>
      </dsp:txXfrm>
    </dsp:sp>
    <dsp:sp modelId="{62A470D0-C165-4541-8F24-C466D65C0EB6}">
      <dsp:nvSpPr>
        <dsp:cNvPr id="0" name=""/>
        <dsp:cNvSpPr/>
      </dsp:nvSpPr>
      <dsp:spPr>
        <a:xfrm>
          <a:off x="1251065" y="3969870"/>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263052" y="3981857"/>
        <a:ext cx="894109" cy="221591"/>
      </dsp:txXfrm>
    </dsp:sp>
    <dsp:sp modelId="{FF3A130B-52BD-4D32-B131-5AD287958039}">
      <dsp:nvSpPr>
        <dsp:cNvPr id="0" name=""/>
        <dsp:cNvSpPr/>
      </dsp:nvSpPr>
      <dsp:spPr>
        <a:xfrm>
          <a:off x="3425895" y="3887070"/>
          <a:ext cx="918083" cy="411166"/>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 (</a:t>
          </a:r>
          <a:r>
            <a:rPr lang="en-US" sz="1000" b="1" u="sng" kern="1200" dirty="0">
              <a:solidFill>
                <a:schemeClr val="tx1"/>
              </a:solidFill>
            </a:rPr>
            <a:t>&lt;</a:t>
          </a:r>
          <a:r>
            <a:rPr lang="en-US" sz="1000" b="1" u="none" kern="1200" dirty="0">
              <a:solidFill>
                <a:schemeClr val="tx1"/>
              </a:solidFill>
            </a:rPr>
            <a:t>1</a:t>
          </a:r>
          <a:r>
            <a:rPr lang="en-US" sz="1000" b="1" kern="1200" dirty="0">
              <a:solidFill>
                <a:schemeClr val="tx1"/>
              </a:solidFill>
            </a:rPr>
            <a:t>80 days)</a:t>
          </a:r>
        </a:p>
      </dsp:txBody>
      <dsp:txXfrm>
        <a:off x="3560345" y="3947284"/>
        <a:ext cx="649183" cy="290738"/>
      </dsp:txXfrm>
    </dsp:sp>
    <dsp:sp modelId="{099675E6-4990-449E-B27E-40BEA05A83D6}">
      <dsp:nvSpPr>
        <dsp:cNvPr id="0" name=""/>
        <dsp:cNvSpPr/>
      </dsp:nvSpPr>
      <dsp:spPr>
        <a:xfrm>
          <a:off x="5410203" y="3580713"/>
          <a:ext cx="1647170" cy="637334"/>
        </a:xfrm>
        <a:prstGeom prst="chevron">
          <a:avLst/>
        </a:prstGeom>
        <a:solidFill>
          <a:schemeClr val="bg1">
            <a:lumMod val="5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rPr>
            <a:t>State moves to Step 3</a:t>
          </a:r>
        </a:p>
      </dsp:txBody>
      <dsp:txXfrm>
        <a:off x="5728870" y="3580713"/>
        <a:ext cx="1009836" cy="637334"/>
      </dsp:txXfrm>
    </dsp:sp>
    <dsp:sp modelId="{7E49BADF-7699-47C5-82B9-00203BAE3D05}">
      <dsp:nvSpPr>
        <dsp:cNvPr id="0" name=""/>
        <dsp:cNvSpPr/>
      </dsp:nvSpPr>
      <dsp:spPr>
        <a:xfrm>
          <a:off x="1251065" y="4702574"/>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263052" y="4714561"/>
        <a:ext cx="894109" cy="221591"/>
      </dsp:txXfrm>
    </dsp:sp>
    <dsp:sp modelId="{C59D1964-10A1-4939-9773-3412B26227FF}">
      <dsp:nvSpPr>
        <dsp:cNvPr id="0" name=""/>
        <dsp:cNvSpPr/>
      </dsp:nvSpPr>
      <dsp:spPr>
        <a:xfrm>
          <a:off x="3425895" y="4619774"/>
          <a:ext cx="918083" cy="411166"/>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lay</a:t>
          </a:r>
        </a:p>
      </dsp:txBody>
      <dsp:txXfrm>
        <a:off x="3425895" y="4619774"/>
        <a:ext cx="918083" cy="411166"/>
      </dsp:txXfrm>
    </dsp:sp>
    <dsp:sp modelId="{AB977356-973A-4AF3-B9BD-6DE402EA5DD9}">
      <dsp:nvSpPr>
        <dsp:cNvPr id="0" name=""/>
        <dsp:cNvSpPr/>
      </dsp:nvSpPr>
      <dsp:spPr>
        <a:xfrm>
          <a:off x="5410203" y="4698635"/>
          <a:ext cx="1647170" cy="637334"/>
        </a:xfrm>
        <a:prstGeom prst="flowChartDisplay">
          <a:avLst/>
        </a:prstGeom>
        <a:solidFill>
          <a:srgbClr val="FFC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lay</a:t>
          </a:r>
        </a:p>
      </dsp:txBody>
      <dsp:txXfrm>
        <a:off x="5684731" y="4698635"/>
        <a:ext cx="1098114" cy="637334"/>
      </dsp:txXfrm>
    </dsp:sp>
    <dsp:sp modelId="{55C73A3A-F559-4CFF-B10F-92972CF5F897}">
      <dsp:nvSpPr>
        <dsp:cNvPr id="0" name=""/>
        <dsp:cNvSpPr/>
      </dsp:nvSpPr>
      <dsp:spPr>
        <a:xfrm>
          <a:off x="1251065" y="5037480"/>
          <a:ext cx="918083" cy="245565"/>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332 waiver</a:t>
          </a:r>
        </a:p>
      </dsp:txBody>
      <dsp:txXfrm>
        <a:off x="1263052" y="5049467"/>
        <a:ext cx="894109" cy="221591"/>
      </dsp:txXfrm>
    </dsp:sp>
    <dsp:sp modelId="{5BF27B3F-FE56-482B-A094-9C17F8FB509D}">
      <dsp:nvSpPr>
        <dsp:cNvPr id="0" name=""/>
        <dsp:cNvSpPr/>
      </dsp:nvSpPr>
      <dsp:spPr>
        <a:xfrm>
          <a:off x="3425895" y="4954680"/>
          <a:ext cx="918083" cy="411166"/>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 (</a:t>
          </a:r>
          <a:r>
            <a:rPr lang="en-US" sz="1000" b="1" u="sng" kern="1200" dirty="0">
              <a:solidFill>
                <a:schemeClr val="tx1"/>
              </a:solidFill>
            </a:rPr>
            <a:t>&lt;</a:t>
          </a:r>
          <a:r>
            <a:rPr lang="en-US" sz="1000" b="1" u="none" kern="1200" dirty="0">
              <a:solidFill>
                <a:schemeClr val="tx1"/>
              </a:solidFill>
            </a:rPr>
            <a:t>1</a:t>
          </a:r>
          <a:r>
            <a:rPr lang="en-US" sz="1000" b="1" kern="1200" dirty="0">
              <a:solidFill>
                <a:schemeClr val="tx1"/>
              </a:solidFill>
            </a:rPr>
            <a:t>80 days)</a:t>
          </a:r>
          <a:endParaRPr lang="en-US" sz="1000" b="1" u="sng" kern="1200" dirty="0">
            <a:solidFill>
              <a:schemeClr val="tx1"/>
            </a:solidFill>
          </a:endParaRPr>
        </a:p>
      </dsp:txBody>
      <dsp:txXfrm>
        <a:off x="3560345" y="5014894"/>
        <a:ext cx="649183" cy="29073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CBFC17-B32F-40BB-A01F-845BE2F3B3D2}">
      <dsp:nvSpPr>
        <dsp:cNvPr id="0" name=""/>
        <dsp:cNvSpPr/>
      </dsp:nvSpPr>
      <dsp:spPr>
        <a:xfrm>
          <a:off x="3780879" y="4514026"/>
          <a:ext cx="870473" cy="91440"/>
        </a:xfrm>
        <a:custGeom>
          <a:avLst/>
          <a:gdLst/>
          <a:ahLst/>
          <a:cxnLst/>
          <a:rect l="0" t="0" r="0" b="0"/>
          <a:pathLst>
            <a:path>
              <a:moveTo>
                <a:pt x="0" y="45720"/>
              </a:moveTo>
              <a:lnTo>
                <a:pt x="386177" y="45720"/>
              </a:lnTo>
              <a:lnTo>
                <a:pt x="386177" y="50712"/>
              </a:lnTo>
              <a:lnTo>
                <a:pt x="870473" y="50712"/>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F580550D-7334-4B9E-95B2-51BB673FC8D1}">
      <dsp:nvSpPr>
        <dsp:cNvPr id="0" name=""/>
        <dsp:cNvSpPr/>
      </dsp:nvSpPr>
      <dsp:spPr>
        <a:xfrm>
          <a:off x="1746061" y="4508812"/>
          <a:ext cx="627114" cy="91440"/>
        </a:xfrm>
        <a:custGeom>
          <a:avLst/>
          <a:gdLst/>
          <a:ahLst/>
          <a:cxnLst/>
          <a:rect l="0" t="0" r="0" b="0"/>
          <a:pathLst>
            <a:path>
              <a:moveTo>
                <a:pt x="0" y="45720"/>
              </a:moveTo>
              <a:lnTo>
                <a:pt x="142818" y="45720"/>
              </a:lnTo>
              <a:lnTo>
                <a:pt x="142818" y="50934"/>
              </a:lnTo>
              <a:lnTo>
                <a:pt x="627114" y="50934"/>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13B287E4-143C-46B8-BB97-EE4AB23BB594}">
      <dsp:nvSpPr>
        <dsp:cNvPr id="0" name=""/>
        <dsp:cNvSpPr/>
      </dsp:nvSpPr>
      <dsp:spPr>
        <a:xfrm>
          <a:off x="3809985" y="2481139"/>
          <a:ext cx="841367" cy="91440"/>
        </a:xfrm>
        <a:custGeom>
          <a:avLst/>
          <a:gdLst/>
          <a:ahLst/>
          <a:cxnLst/>
          <a:rect l="0" t="0" r="0" b="0"/>
          <a:pathLst>
            <a:path>
              <a:moveTo>
                <a:pt x="0" y="45720"/>
              </a:moveTo>
              <a:lnTo>
                <a:pt x="357071" y="45720"/>
              </a:lnTo>
              <a:lnTo>
                <a:pt x="357071" y="49412"/>
              </a:lnTo>
              <a:lnTo>
                <a:pt x="841367" y="49412"/>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8FC2B97D-DB59-4737-9207-C815A23BF65E}">
      <dsp:nvSpPr>
        <dsp:cNvPr id="0" name=""/>
        <dsp:cNvSpPr/>
      </dsp:nvSpPr>
      <dsp:spPr>
        <a:xfrm>
          <a:off x="1746061" y="2481139"/>
          <a:ext cx="656221" cy="91440"/>
        </a:xfrm>
        <a:custGeom>
          <a:avLst/>
          <a:gdLst/>
          <a:ahLst/>
          <a:cxnLst/>
          <a:rect l="0" t="0" r="0" b="0"/>
          <a:pathLst>
            <a:path>
              <a:moveTo>
                <a:pt x="0" y="55675"/>
              </a:moveTo>
              <a:lnTo>
                <a:pt x="171925" y="55675"/>
              </a:lnTo>
              <a:lnTo>
                <a:pt x="171925" y="45720"/>
              </a:lnTo>
              <a:lnTo>
                <a:pt x="656221" y="45720"/>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1D238B17-4702-4BC2-BE36-EB12789119F6}">
      <dsp:nvSpPr>
        <dsp:cNvPr id="0" name=""/>
        <dsp:cNvSpPr/>
      </dsp:nvSpPr>
      <dsp:spPr>
        <a:xfrm>
          <a:off x="3824175" y="551621"/>
          <a:ext cx="827177" cy="91440"/>
        </a:xfrm>
        <a:custGeom>
          <a:avLst/>
          <a:gdLst/>
          <a:ahLst/>
          <a:cxnLst/>
          <a:rect l="0" t="0" r="0" b="0"/>
          <a:pathLst>
            <a:path>
              <a:moveTo>
                <a:pt x="0" y="45720"/>
              </a:moveTo>
              <a:lnTo>
                <a:pt x="342881" y="45720"/>
              </a:lnTo>
              <a:lnTo>
                <a:pt x="342881" y="56207"/>
              </a:lnTo>
              <a:lnTo>
                <a:pt x="827177" y="56207"/>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138DA514-4305-4324-9DD8-A4E5D22470C0}">
      <dsp:nvSpPr>
        <dsp:cNvPr id="0" name=""/>
        <dsp:cNvSpPr/>
      </dsp:nvSpPr>
      <dsp:spPr>
        <a:xfrm>
          <a:off x="1752599" y="546421"/>
          <a:ext cx="663872" cy="91440"/>
        </a:xfrm>
        <a:custGeom>
          <a:avLst/>
          <a:gdLst/>
          <a:ahLst/>
          <a:cxnLst/>
          <a:rect l="0" t="0" r="0" b="0"/>
          <a:pathLst>
            <a:path>
              <a:moveTo>
                <a:pt x="0" y="45720"/>
              </a:moveTo>
              <a:lnTo>
                <a:pt x="179576" y="45720"/>
              </a:lnTo>
              <a:lnTo>
                <a:pt x="179576" y="50919"/>
              </a:lnTo>
              <a:lnTo>
                <a:pt x="663872" y="50919"/>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CA82278E-F451-4EA7-A79E-93E1B57BBB1F}">
      <dsp:nvSpPr>
        <dsp:cNvPr id="0" name=""/>
        <dsp:cNvSpPr/>
      </dsp:nvSpPr>
      <dsp:spPr>
        <a:xfrm>
          <a:off x="293948" y="228604"/>
          <a:ext cx="1458651" cy="727074"/>
        </a:xfrm>
        <a:prstGeom prst="roundRect">
          <a:avLst/>
        </a:prstGeom>
        <a:solidFill>
          <a:schemeClr val="accent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1115 waiver</a:t>
          </a:r>
        </a:p>
      </dsp:txBody>
      <dsp:txXfrm>
        <a:off x="329441" y="264097"/>
        <a:ext cx="1387665" cy="656088"/>
      </dsp:txXfrm>
    </dsp:sp>
    <dsp:sp modelId="{D4AD3584-CCC7-4C5D-BA2B-08F7C45B2342}">
      <dsp:nvSpPr>
        <dsp:cNvPr id="0" name=""/>
        <dsp:cNvSpPr/>
      </dsp:nvSpPr>
      <dsp:spPr>
        <a:xfrm>
          <a:off x="2416472" y="432681"/>
          <a:ext cx="1407703" cy="329320"/>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ysClr val="windowText" lastClr="000000"/>
              </a:solidFill>
            </a:rPr>
            <a:t>Approved</a:t>
          </a:r>
        </a:p>
      </dsp:txBody>
      <dsp:txXfrm>
        <a:off x="2622625" y="480909"/>
        <a:ext cx="995397" cy="232864"/>
      </dsp:txXfrm>
    </dsp:sp>
    <dsp:sp modelId="{0EE0040A-1396-415B-8C01-1232BE958866}">
      <dsp:nvSpPr>
        <dsp:cNvPr id="0" name=""/>
        <dsp:cNvSpPr/>
      </dsp:nvSpPr>
      <dsp:spPr>
        <a:xfrm>
          <a:off x="4651353" y="225059"/>
          <a:ext cx="1977719" cy="765538"/>
        </a:xfrm>
        <a:prstGeom prst="flowChartDisplay">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Expansion effective once waiver approved, if on or after 01/01/2020</a:t>
          </a:r>
        </a:p>
      </dsp:txBody>
      <dsp:txXfrm>
        <a:off x="4980973" y="225059"/>
        <a:ext cx="1318479" cy="765538"/>
      </dsp:txXfrm>
    </dsp:sp>
    <dsp:sp modelId="{9FC8182C-B293-4C29-819C-5B43DEE42D86}">
      <dsp:nvSpPr>
        <dsp:cNvPr id="0" name=""/>
        <dsp:cNvSpPr/>
      </dsp:nvSpPr>
      <dsp:spPr>
        <a:xfrm>
          <a:off x="287410" y="2173278"/>
          <a:ext cx="1458651" cy="727074"/>
        </a:xfrm>
        <a:prstGeom prst="roundRect">
          <a:avLst/>
        </a:prstGeom>
        <a:solidFill>
          <a:schemeClr val="accent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1115 waiver</a:t>
          </a:r>
        </a:p>
      </dsp:txBody>
      <dsp:txXfrm>
        <a:off x="322903" y="2208771"/>
        <a:ext cx="1387665" cy="656088"/>
      </dsp:txXfrm>
    </dsp:sp>
    <dsp:sp modelId="{3F481A9A-E90C-4996-961E-95AB6F4713AE}">
      <dsp:nvSpPr>
        <dsp:cNvPr id="0" name=""/>
        <dsp:cNvSpPr/>
      </dsp:nvSpPr>
      <dsp:spPr>
        <a:xfrm>
          <a:off x="2402282" y="2362199"/>
          <a:ext cx="1407703" cy="329320"/>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ysClr val="windowText" lastClr="000000"/>
              </a:solidFill>
            </a:rPr>
            <a:t>Denied</a:t>
          </a:r>
        </a:p>
      </dsp:txBody>
      <dsp:txXfrm>
        <a:off x="2608435" y="2410427"/>
        <a:ext cx="995397" cy="232864"/>
      </dsp:txXfrm>
    </dsp:sp>
    <dsp:sp modelId="{819DBB63-9FFA-4E43-A6FD-4C64089534ED}">
      <dsp:nvSpPr>
        <dsp:cNvPr id="0" name=""/>
        <dsp:cNvSpPr/>
      </dsp:nvSpPr>
      <dsp:spPr>
        <a:xfrm>
          <a:off x="4651353" y="2147783"/>
          <a:ext cx="1977719" cy="765538"/>
        </a:xfrm>
        <a:prstGeom prst="flowChartDisplay">
          <a:avLst/>
        </a:prstGeom>
        <a:solidFill>
          <a:schemeClr val="bg1">
            <a:lumMod val="5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No expansion</a:t>
          </a:r>
        </a:p>
      </dsp:txBody>
      <dsp:txXfrm>
        <a:off x="4980973" y="2147783"/>
        <a:ext cx="1318479" cy="765538"/>
      </dsp:txXfrm>
    </dsp:sp>
    <dsp:sp modelId="{34B92687-26AF-45EB-AA9C-D562FD3F5B8B}">
      <dsp:nvSpPr>
        <dsp:cNvPr id="0" name=""/>
        <dsp:cNvSpPr/>
      </dsp:nvSpPr>
      <dsp:spPr>
        <a:xfrm>
          <a:off x="287410" y="4190995"/>
          <a:ext cx="1458651" cy="727074"/>
        </a:xfrm>
        <a:prstGeom prst="roundRect">
          <a:avLst/>
        </a:prstGeom>
        <a:solidFill>
          <a:schemeClr val="accent2">
            <a:hueOff val="0"/>
            <a:satOff val="0"/>
            <a:lumOff val="0"/>
            <a:alphaOff val="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1115 waiver</a:t>
          </a:r>
        </a:p>
      </dsp:txBody>
      <dsp:txXfrm>
        <a:off x="322903" y="4226488"/>
        <a:ext cx="1387665" cy="656088"/>
      </dsp:txXfrm>
    </dsp:sp>
    <dsp:sp modelId="{4DA49A07-9EA0-48E0-9D38-EEBB3D0A0EA8}">
      <dsp:nvSpPr>
        <dsp:cNvPr id="0" name=""/>
        <dsp:cNvSpPr/>
      </dsp:nvSpPr>
      <dsp:spPr>
        <a:xfrm>
          <a:off x="2373176" y="4395086"/>
          <a:ext cx="1407703" cy="329320"/>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ysClr val="windowText" lastClr="000000"/>
              </a:solidFill>
            </a:rPr>
            <a:t>Delay</a:t>
          </a:r>
        </a:p>
      </dsp:txBody>
      <dsp:txXfrm>
        <a:off x="2579329" y="4443314"/>
        <a:ext cx="995397" cy="232864"/>
      </dsp:txXfrm>
    </dsp:sp>
    <dsp:sp modelId="{185F49BA-0FB4-494E-888E-7DA48969E1D5}">
      <dsp:nvSpPr>
        <dsp:cNvPr id="0" name=""/>
        <dsp:cNvSpPr/>
      </dsp:nvSpPr>
      <dsp:spPr>
        <a:xfrm>
          <a:off x="4651353" y="4181970"/>
          <a:ext cx="1977719" cy="765538"/>
        </a:xfrm>
        <a:prstGeom prst="flowChartDisplay">
          <a:avLst/>
        </a:prstGeom>
        <a:solidFill>
          <a:srgbClr val="FFC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rPr>
            <a:t>Delay</a:t>
          </a:r>
        </a:p>
      </dsp:txBody>
      <dsp:txXfrm>
        <a:off x="4980973" y="4181970"/>
        <a:ext cx="1318479" cy="76553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CAC166-090C-4FA3-B7F3-8FC6CBBB9D84}">
      <dsp:nvSpPr>
        <dsp:cNvPr id="0" name=""/>
        <dsp:cNvSpPr/>
      </dsp:nvSpPr>
      <dsp:spPr>
        <a:xfrm>
          <a:off x="1680790" y="1500370"/>
          <a:ext cx="296019" cy="636441"/>
        </a:xfrm>
        <a:custGeom>
          <a:avLst/>
          <a:gdLst/>
          <a:ahLst/>
          <a:cxnLst/>
          <a:rect l="0" t="0" r="0" b="0"/>
          <a:pathLst>
            <a:path>
              <a:moveTo>
                <a:pt x="0" y="0"/>
              </a:moveTo>
              <a:lnTo>
                <a:pt x="148009" y="0"/>
              </a:lnTo>
              <a:lnTo>
                <a:pt x="148009" y="636441"/>
              </a:lnTo>
              <a:lnTo>
                <a:pt x="296019" y="636441"/>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218DCC8-B3F6-4553-A35E-39FE07DF2DAA}">
      <dsp:nvSpPr>
        <dsp:cNvPr id="0" name=""/>
        <dsp:cNvSpPr/>
      </dsp:nvSpPr>
      <dsp:spPr>
        <a:xfrm>
          <a:off x="1680790" y="1454650"/>
          <a:ext cx="296019" cy="91440"/>
        </a:xfrm>
        <a:custGeom>
          <a:avLst/>
          <a:gdLst/>
          <a:ahLst/>
          <a:cxnLst/>
          <a:rect l="0" t="0" r="0" b="0"/>
          <a:pathLst>
            <a:path>
              <a:moveTo>
                <a:pt x="0" y="45720"/>
              </a:moveTo>
              <a:lnTo>
                <a:pt x="296019" y="4572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424F5A6-E31E-4538-B20B-89CB9CA6EB53}">
      <dsp:nvSpPr>
        <dsp:cNvPr id="0" name=""/>
        <dsp:cNvSpPr/>
      </dsp:nvSpPr>
      <dsp:spPr>
        <a:xfrm>
          <a:off x="1680790" y="863929"/>
          <a:ext cx="296019" cy="636441"/>
        </a:xfrm>
        <a:custGeom>
          <a:avLst/>
          <a:gdLst/>
          <a:ahLst/>
          <a:cxnLst/>
          <a:rect l="0" t="0" r="0" b="0"/>
          <a:pathLst>
            <a:path>
              <a:moveTo>
                <a:pt x="0" y="636441"/>
              </a:moveTo>
              <a:lnTo>
                <a:pt x="148009" y="636441"/>
              </a:lnTo>
              <a:lnTo>
                <a:pt x="148009" y="0"/>
              </a:lnTo>
              <a:lnTo>
                <a:pt x="296019" y="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67CE4BB-3745-47AB-B95A-714BC82C109F}">
      <dsp:nvSpPr>
        <dsp:cNvPr id="0" name=""/>
        <dsp:cNvSpPr/>
      </dsp:nvSpPr>
      <dsp:spPr>
        <a:xfrm>
          <a:off x="1680790" y="181768"/>
          <a:ext cx="296019" cy="91440"/>
        </a:xfrm>
        <a:custGeom>
          <a:avLst/>
          <a:gdLst/>
          <a:ahLst/>
          <a:cxnLst/>
          <a:rect l="0" t="0" r="0" b="0"/>
          <a:pathLst>
            <a:path>
              <a:moveTo>
                <a:pt x="0" y="45720"/>
              </a:moveTo>
              <a:lnTo>
                <a:pt x="296019" y="45720"/>
              </a:lnTo>
            </a:path>
          </a:pathLst>
        </a:custGeom>
        <a:noFill/>
        <a:ln w="25400" cap="flat" cmpd="sng" algn="ctr">
          <a:solidFill>
            <a:schemeClr val="accent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8BD075B-C694-4A97-8ECA-96FB005080EE}">
      <dsp:nvSpPr>
        <dsp:cNvPr id="0" name=""/>
        <dsp:cNvSpPr/>
      </dsp:nvSpPr>
      <dsp:spPr>
        <a:xfrm>
          <a:off x="200694" y="1773"/>
          <a:ext cx="1480095" cy="451429"/>
        </a:xfrm>
        <a:prstGeom prst="roundRect">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baseline="0" dirty="0">
              <a:latin typeface="+mj-lt"/>
            </a:rPr>
            <a:t>SPA</a:t>
          </a:r>
        </a:p>
      </dsp:txBody>
      <dsp:txXfrm>
        <a:off x="222731" y="23810"/>
        <a:ext cx="1436021" cy="407355"/>
      </dsp:txXfrm>
    </dsp:sp>
    <dsp:sp modelId="{F2D44061-3F54-46D3-B092-124DCE2E8121}">
      <dsp:nvSpPr>
        <dsp:cNvPr id="0" name=""/>
        <dsp:cNvSpPr/>
      </dsp:nvSpPr>
      <dsp:spPr>
        <a:xfrm>
          <a:off x="1976809" y="1773"/>
          <a:ext cx="1480095" cy="451429"/>
        </a:xfrm>
        <a:prstGeom prst="ellipse">
          <a:avLst/>
        </a:prstGeom>
        <a:solidFill>
          <a:schemeClr val="bg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baseline="0" dirty="0">
              <a:latin typeface="+mj-lt"/>
            </a:rPr>
            <a:t>Approved</a:t>
          </a:r>
        </a:p>
      </dsp:txBody>
      <dsp:txXfrm>
        <a:off x="2193564" y="67883"/>
        <a:ext cx="1046585" cy="319209"/>
      </dsp:txXfrm>
    </dsp:sp>
    <dsp:sp modelId="{7C97E42F-1B16-46A9-9A74-EEA8016BCEF7}">
      <dsp:nvSpPr>
        <dsp:cNvPr id="0" name=""/>
        <dsp:cNvSpPr/>
      </dsp:nvSpPr>
      <dsp:spPr>
        <a:xfrm>
          <a:off x="200694" y="1274655"/>
          <a:ext cx="1480095" cy="451429"/>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rPr>
            <a:t>1115 waiver</a:t>
          </a:r>
          <a:endParaRPr lang="en-US" sz="1200" b="1" kern="1200" baseline="30000" dirty="0">
            <a:latin typeface="+mj-lt"/>
          </a:endParaRPr>
        </a:p>
      </dsp:txBody>
      <dsp:txXfrm>
        <a:off x="222731" y="1296692"/>
        <a:ext cx="1436021" cy="407355"/>
      </dsp:txXfrm>
    </dsp:sp>
    <dsp:sp modelId="{F7B5F65C-7F4E-4947-B4BA-38FBE2BE4761}">
      <dsp:nvSpPr>
        <dsp:cNvPr id="0" name=""/>
        <dsp:cNvSpPr/>
      </dsp:nvSpPr>
      <dsp:spPr>
        <a:xfrm>
          <a:off x="1976809" y="638214"/>
          <a:ext cx="1480095" cy="451429"/>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rPr>
            <a:t>Approved</a:t>
          </a:r>
        </a:p>
      </dsp:txBody>
      <dsp:txXfrm>
        <a:off x="2193564" y="704324"/>
        <a:ext cx="1046585" cy="319209"/>
      </dsp:txXfrm>
    </dsp:sp>
    <dsp:sp modelId="{6F9AD989-1A8E-48F4-A9D8-265BCF14ADCF}">
      <dsp:nvSpPr>
        <dsp:cNvPr id="0" name=""/>
        <dsp:cNvSpPr/>
      </dsp:nvSpPr>
      <dsp:spPr>
        <a:xfrm>
          <a:off x="1976809" y="1274655"/>
          <a:ext cx="1480095" cy="451429"/>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mj-lt"/>
            </a:rPr>
            <a:t>Denied</a:t>
          </a:r>
        </a:p>
      </dsp:txBody>
      <dsp:txXfrm>
        <a:off x="2193564" y="1340765"/>
        <a:ext cx="1046585" cy="319209"/>
      </dsp:txXfrm>
    </dsp:sp>
    <dsp:sp modelId="{002154C2-BEA9-4DDA-AD72-66174047192C}">
      <dsp:nvSpPr>
        <dsp:cNvPr id="0" name=""/>
        <dsp:cNvSpPr/>
      </dsp:nvSpPr>
      <dsp:spPr>
        <a:xfrm>
          <a:off x="1976809" y="1911097"/>
          <a:ext cx="1480095" cy="451429"/>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1" kern="1200" dirty="0"/>
            <a:t>Delay*</a:t>
          </a:r>
        </a:p>
      </dsp:txBody>
      <dsp:txXfrm>
        <a:off x="2193564" y="1977207"/>
        <a:ext cx="1046585" cy="31920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C2574F-6633-42E9-9DE8-5FC0DBDAE680}">
      <dsp:nvSpPr>
        <dsp:cNvPr id="0" name=""/>
        <dsp:cNvSpPr/>
      </dsp:nvSpPr>
      <dsp:spPr>
        <a:xfrm>
          <a:off x="1577472" y="4931686"/>
          <a:ext cx="860919" cy="91440"/>
        </a:xfrm>
        <a:custGeom>
          <a:avLst/>
          <a:gdLst/>
          <a:ahLst/>
          <a:cxnLst/>
          <a:rect l="0" t="0" r="0" b="0"/>
          <a:pathLst>
            <a:path>
              <a:moveTo>
                <a:pt x="0" y="45720"/>
              </a:moveTo>
              <a:lnTo>
                <a:pt x="860919"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88CBFC17-B32F-40BB-A01F-845BE2F3B3D2}">
      <dsp:nvSpPr>
        <dsp:cNvPr id="0" name=""/>
        <dsp:cNvSpPr/>
      </dsp:nvSpPr>
      <dsp:spPr>
        <a:xfrm>
          <a:off x="3590743" y="4433268"/>
          <a:ext cx="936856" cy="216863"/>
        </a:xfrm>
        <a:custGeom>
          <a:avLst/>
          <a:gdLst/>
          <a:ahLst/>
          <a:cxnLst/>
          <a:rect l="0" t="0" r="0" b="0"/>
          <a:pathLst>
            <a:path>
              <a:moveTo>
                <a:pt x="0" y="0"/>
              </a:moveTo>
              <a:lnTo>
                <a:pt x="740738" y="0"/>
              </a:lnTo>
              <a:lnTo>
                <a:pt x="740738" y="216863"/>
              </a:lnTo>
              <a:lnTo>
                <a:pt x="936856" y="216863"/>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F580550D-7334-4B9E-95B2-51BB673FC8D1}">
      <dsp:nvSpPr>
        <dsp:cNvPr id="0" name=""/>
        <dsp:cNvSpPr/>
      </dsp:nvSpPr>
      <dsp:spPr>
        <a:xfrm>
          <a:off x="1577472" y="4387548"/>
          <a:ext cx="860919" cy="91440"/>
        </a:xfrm>
        <a:custGeom>
          <a:avLst/>
          <a:gdLst/>
          <a:ahLst/>
          <a:cxnLst/>
          <a:rect l="0" t="0" r="0" b="0"/>
          <a:pathLst>
            <a:path>
              <a:moveTo>
                <a:pt x="0" y="45720"/>
              </a:moveTo>
              <a:lnTo>
                <a:pt x="860919"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9484AD96-A6D5-4748-969C-E4B92A970937}">
      <dsp:nvSpPr>
        <dsp:cNvPr id="0" name=""/>
        <dsp:cNvSpPr/>
      </dsp:nvSpPr>
      <dsp:spPr>
        <a:xfrm>
          <a:off x="1577472" y="2929838"/>
          <a:ext cx="860919" cy="91440"/>
        </a:xfrm>
        <a:custGeom>
          <a:avLst/>
          <a:gdLst/>
          <a:ahLst/>
          <a:cxnLst/>
          <a:rect l="0" t="0" r="0" b="0"/>
          <a:pathLst>
            <a:path>
              <a:moveTo>
                <a:pt x="0" y="45720"/>
              </a:moveTo>
              <a:lnTo>
                <a:pt x="860919"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13B287E4-143C-46B8-BB97-EE4AB23BB594}">
      <dsp:nvSpPr>
        <dsp:cNvPr id="0" name=""/>
        <dsp:cNvSpPr/>
      </dsp:nvSpPr>
      <dsp:spPr>
        <a:xfrm>
          <a:off x="3590743" y="2431420"/>
          <a:ext cx="958979" cy="281063"/>
        </a:xfrm>
        <a:custGeom>
          <a:avLst/>
          <a:gdLst/>
          <a:ahLst/>
          <a:cxnLst/>
          <a:rect l="0" t="0" r="0" b="0"/>
          <a:pathLst>
            <a:path>
              <a:moveTo>
                <a:pt x="0" y="0"/>
              </a:moveTo>
              <a:lnTo>
                <a:pt x="762860" y="0"/>
              </a:lnTo>
              <a:lnTo>
                <a:pt x="762860" y="281063"/>
              </a:lnTo>
              <a:lnTo>
                <a:pt x="958979" y="281063"/>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8FC2B97D-DB59-4737-9207-C815A23BF65E}">
      <dsp:nvSpPr>
        <dsp:cNvPr id="0" name=""/>
        <dsp:cNvSpPr/>
      </dsp:nvSpPr>
      <dsp:spPr>
        <a:xfrm>
          <a:off x="1577472" y="2385700"/>
          <a:ext cx="860919" cy="91440"/>
        </a:xfrm>
        <a:custGeom>
          <a:avLst/>
          <a:gdLst/>
          <a:ahLst/>
          <a:cxnLst/>
          <a:rect l="0" t="0" r="0" b="0"/>
          <a:pathLst>
            <a:path>
              <a:moveTo>
                <a:pt x="0" y="45720"/>
              </a:moveTo>
              <a:lnTo>
                <a:pt x="860919"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E5C0F204-0BA5-475D-BA78-58C4F5296014}">
      <dsp:nvSpPr>
        <dsp:cNvPr id="0" name=""/>
        <dsp:cNvSpPr/>
      </dsp:nvSpPr>
      <dsp:spPr>
        <a:xfrm>
          <a:off x="1645721" y="981879"/>
          <a:ext cx="792670" cy="91440"/>
        </a:xfrm>
        <a:custGeom>
          <a:avLst/>
          <a:gdLst/>
          <a:ahLst/>
          <a:cxnLst/>
          <a:rect l="0" t="0" r="0" b="0"/>
          <a:pathLst>
            <a:path>
              <a:moveTo>
                <a:pt x="0" y="45720"/>
              </a:moveTo>
              <a:lnTo>
                <a:pt x="792670" y="45720"/>
              </a:lnTo>
            </a:path>
          </a:pathLst>
        </a:custGeom>
        <a:noFill/>
        <a:ln w="25400" cap="flat" cmpd="sng" algn="ctr">
          <a:solidFill>
            <a:schemeClr val="bg2"/>
          </a:solidFill>
          <a:prstDash val="solid"/>
          <a:headEnd type="none" w="med" len="med"/>
          <a:tailEnd type="triangle" w="med" len="med"/>
        </a:ln>
        <a:effectLst/>
      </dsp:spPr>
      <dsp:style>
        <a:lnRef idx="2">
          <a:scrgbClr r="0" g="0" b="0"/>
        </a:lnRef>
        <a:fillRef idx="0">
          <a:scrgbClr r="0" g="0" b="0"/>
        </a:fillRef>
        <a:effectRef idx="0">
          <a:scrgbClr r="0" g="0" b="0"/>
        </a:effectRef>
        <a:fontRef idx="minor"/>
      </dsp:style>
    </dsp:sp>
    <dsp:sp modelId="{1D238B17-4702-4BC2-BE36-EB12789119F6}">
      <dsp:nvSpPr>
        <dsp:cNvPr id="0" name=""/>
        <dsp:cNvSpPr/>
      </dsp:nvSpPr>
      <dsp:spPr>
        <a:xfrm>
          <a:off x="3590743" y="483466"/>
          <a:ext cx="964720" cy="260833"/>
        </a:xfrm>
        <a:custGeom>
          <a:avLst/>
          <a:gdLst/>
          <a:ahLst/>
          <a:cxnLst/>
          <a:rect l="0" t="0" r="0" b="0"/>
          <a:pathLst>
            <a:path>
              <a:moveTo>
                <a:pt x="0" y="0"/>
              </a:moveTo>
              <a:lnTo>
                <a:pt x="768602" y="0"/>
              </a:lnTo>
              <a:lnTo>
                <a:pt x="768602" y="260833"/>
              </a:lnTo>
              <a:lnTo>
                <a:pt x="964720" y="260833"/>
              </a:lnTo>
            </a:path>
          </a:pathLst>
        </a:custGeom>
        <a:noFill/>
        <a:ln w="25400" cap="flat" cmpd="sng" algn="ctr">
          <a:noFill/>
          <a:prstDash val="solid"/>
        </a:ln>
        <a:effectLst/>
      </dsp:spPr>
      <dsp:style>
        <a:lnRef idx="2">
          <a:scrgbClr r="0" g="0" b="0"/>
        </a:lnRef>
        <a:fillRef idx="0">
          <a:scrgbClr r="0" g="0" b="0"/>
        </a:fillRef>
        <a:effectRef idx="0">
          <a:scrgbClr r="0" g="0" b="0"/>
        </a:effectRef>
        <a:fontRef idx="minor"/>
      </dsp:style>
    </dsp:sp>
    <dsp:sp modelId="{138DA514-4305-4324-9DD8-A4E5D22470C0}">
      <dsp:nvSpPr>
        <dsp:cNvPr id="0" name=""/>
        <dsp:cNvSpPr/>
      </dsp:nvSpPr>
      <dsp:spPr>
        <a:xfrm>
          <a:off x="1645721" y="437746"/>
          <a:ext cx="792670" cy="91440"/>
        </a:xfrm>
        <a:custGeom>
          <a:avLst/>
          <a:gdLst/>
          <a:ahLst/>
          <a:cxnLst/>
          <a:rect l="0" t="0" r="0" b="0"/>
          <a:pathLst>
            <a:path>
              <a:moveTo>
                <a:pt x="0" y="45720"/>
              </a:moveTo>
              <a:lnTo>
                <a:pt x="792670" y="45720"/>
              </a:lnTo>
            </a:path>
          </a:pathLst>
        </a:custGeom>
        <a:noFill/>
        <a:ln w="25400" cap="flat" cmpd="sng" algn="ctr">
          <a:solidFill>
            <a:srgbClr val="FF0000"/>
          </a:solidFill>
          <a:prstDash val="lgDash"/>
          <a:headEnd type="none" w="med" len="med"/>
          <a:tailEnd type="triangle" w="med" len="med"/>
        </a:ln>
        <a:effectLst/>
      </dsp:spPr>
      <dsp:style>
        <a:lnRef idx="2">
          <a:scrgbClr r="0" g="0" b="0"/>
        </a:lnRef>
        <a:fillRef idx="0">
          <a:scrgbClr r="0" g="0" b="0"/>
        </a:fillRef>
        <a:effectRef idx="0">
          <a:scrgbClr r="0" g="0" b="0"/>
        </a:effectRef>
        <a:fontRef idx="minor"/>
      </dsp:style>
    </dsp:sp>
    <dsp:sp modelId="{CA82278E-F451-4EA7-A79E-93E1B57BBB1F}">
      <dsp:nvSpPr>
        <dsp:cNvPr id="0" name=""/>
        <dsp:cNvSpPr/>
      </dsp:nvSpPr>
      <dsp:spPr>
        <a:xfrm>
          <a:off x="157536" y="286618"/>
          <a:ext cx="1488184" cy="393697"/>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76755" y="305837"/>
        <a:ext cx="1449746" cy="355259"/>
      </dsp:txXfrm>
    </dsp:sp>
    <dsp:sp modelId="{D4AD3584-CCC7-4C5D-BA2B-08F7C45B2342}">
      <dsp:nvSpPr>
        <dsp:cNvPr id="0" name=""/>
        <dsp:cNvSpPr/>
      </dsp:nvSpPr>
      <dsp:spPr>
        <a:xfrm>
          <a:off x="2438392" y="129947"/>
          <a:ext cx="1152351" cy="707037"/>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nied</a:t>
          </a:r>
        </a:p>
      </dsp:txBody>
      <dsp:txXfrm>
        <a:off x="2607150" y="233490"/>
        <a:ext cx="814835" cy="499951"/>
      </dsp:txXfrm>
    </dsp:sp>
    <dsp:sp modelId="{0EE0040A-1396-415B-8C01-1232BE958866}">
      <dsp:nvSpPr>
        <dsp:cNvPr id="0" name=""/>
        <dsp:cNvSpPr/>
      </dsp:nvSpPr>
      <dsp:spPr>
        <a:xfrm>
          <a:off x="4555464" y="375232"/>
          <a:ext cx="1845335" cy="738136"/>
        </a:xfrm>
        <a:prstGeom prst="flowChartDisplay">
          <a:avLst/>
        </a:prstGeom>
        <a:solidFill>
          <a:schemeClr val="bg1">
            <a:lumMod val="5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No expansion</a:t>
          </a:r>
          <a:endParaRPr lang="en-US" sz="1100" b="1" kern="1200" dirty="0">
            <a:solidFill>
              <a:sysClr val="windowText" lastClr="000000"/>
            </a:solidFill>
          </a:endParaRPr>
        </a:p>
      </dsp:txBody>
      <dsp:txXfrm>
        <a:off x="4863020" y="375232"/>
        <a:ext cx="1230223" cy="738136"/>
      </dsp:txXfrm>
    </dsp:sp>
    <dsp:sp modelId="{EBCCF8B9-6E13-4F0A-BE2A-F8631A1C1FC2}">
      <dsp:nvSpPr>
        <dsp:cNvPr id="0" name=""/>
        <dsp:cNvSpPr/>
      </dsp:nvSpPr>
      <dsp:spPr>
        <a:xfrm>
          <a:off x="157536" y="830750"/>
          <a:ext cx="1488184" cy="393697"/>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SPA</a:t>
          </a:r>
        </a:p>
      </dsp:txBody>
      <dsp:txXfrm>
        <a:off x="176755" y="849969"/>
        <a:ext cx="1449746" cy="355259"/>
      </dsp:txXfrm>
    </dsp:sp>
    <dsp:sp modelId="{B8AA2A11-64AA-4FE4-9F64-0E4D555198E6}">
      <dsp:nvSpPr>
        <dsp:cNvPr id="0" name=""/>
        <dsp:cNvSpPr/>
      </dsp:nvSpPr>
      <dsp:spPr>
        <a:xfrm>
          <a:off x="2438392" y="674080"/>
          <a:ext cx="1152351" cy="707037"/>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 </a:t>
          </a:r>
        </a:p>
        <a:p>
          <a:pPr marL="0" lvl="0" indent="0" algn="ctr" defTabSz="444500">
            <a:lnSpc>
              <a:spcPct val="90000"/>
            </a:lnSpc>
            <a:spcBef>
              <a:spcPct val="0"/>
            </a:spcBef>
            <a:spcAft>
              <a:spcPct val="35000"/>
            </a:spcAft>
            <a:buNone/>
          </a:pPr>
          <a:r>
            <a:rPr lang="en-US" sz="1000" b="1" kern="1200" dirty="0">
              <a:solidFill>
                <a:schemeClr val="tx1"/>
              </a:solidFill>
            </a:rPr>
            <a:t>(</a:t>
          </a:r>
          <a:r>
            <a:rPr lang="en-US" sz="1000" b="1" u="sng" kern="1200" dirty="0">
              <a:solidFill>
                <a:schemeClr val="tx1"/>
              </a:solidFill>
            </a:rPr>
            <a:t>&lt;</a:t>
          </a:r>
          <a:r>
            <a:rPr lang="en-US" sz="1000" b="1" u="none" kern="1200" dirty="0">
              <a:solidFill>
                <a:schemeClr val="tx1"/>
              </a:solidFill>
            </a:rPr>
            <a:t>90</a:t>
          </a:r>
          <a:r>
            <a:rPr lang="en-US" sz="1000" b="1" kern="1200" dirty="0">
              <a:solidFill>
                <a:schemeClr val="tx1"/>
              </a:solidFill>
            </a:rPr>
            <a:t> days)</a:t>
          </a:r>
          <a:endParaRPr lang="en-US" sz="1000" b="1" kern="1200" baseline="30000" dirty="0">
            <a:solidFill>
              <a:schemeClr val="tx1"/>
            </a:solidFill>
          </a:endParaRPr>
        </a:p>
      </dsp:txBody>
      <dsp:txXfrm>
        <a:off x="2607150" y="777623"/>
        <a:ext cx="814835" cy="499951"/>
      </dsp:txXfrm>
    </dsp:sp>
    <dsp:sp modelId="{9FC8182C-B293-4C29-819C-5B43DEE42D86}">
      <dsp:nvSpPr>
        <dsp:cNvPr id="0" name=""/>
        <dsp:cNvSpPr/>
      </dsp:nvSpPr>
      <dsp:spPr>
        <a:xfrm>
          <a:off x="89287" y="2234571"/>
          <a:ext cx="1488184" cy="393697"/>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08506" y="2253790"/>
        <a:ext cx="1449746" cy="355259"/>
      </dsp:txXfrm>
    </dsp:sp>
    <dsp:sp modelId="{3F481A9A-E90C-4996-961E-95AB6F4713AE}">
      <dsp:nvSpPr>
        <dsp:cNvPr id="0" name=""/>
        <dsp:cNvSpPr/>
      </dsp:nvSpPr>
      <dsp:spPr>
        <a:xfrm>
          <a:off x="2438392" y="2077901"/>
          <a:ext cx="1152351" cy="707037"/>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a:t>
          </a:r>
        </a:p>
      </dsp:txBody>
      <dsp:txXfrm>
        <a:off x="2607150" y="2181444"/>
        <a:ext cx="814835" cy="499951"/>
      </dsp:txXfrm>
    </dsp:sp>
    <dsp:sp modelId="{819DBB63-9FFA-4E43-A6FD-4C64089534ED}">
      <dsp:nvSpPr>
        <dsp:cNvPr id="0" name=""/>
        <dsp:cNvSpPr/>
      </dsp:nvSpPr>
      <dsp:spPr>
        <a:xfrm>
          <a:off x="4549723" y="2343415"/>
          <a:ext cx="1845335" cy="738136"/>
        </a:xfrm>
        <a:prstGeom prst="flowChartDisplay">
          <a:avLst/>
        </a:prstGeom>
        <a:solidFill>
          <a:srgbClr val="00B05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t>Expansion effective once waiver approved, if on or after 01/01/2020</a:t>
          </a:r>
          <a:endParaRPr lang="en-US" sz="1100" b="1" kern="1200" dirty="0">
            <a:solidFill>
              <a:schemeClr val="bg1"/>
            </a:solidFill>
          </a:endParaRPr>
        </a:p>
      </dsp:txBody>
      <dsp:txXfrm>
        <a:off x="4857279" y="2343415"/>
        <a:ext cx="1230223" cy="738136"/>
      </dsp:txXfrm>
    </dsp:sp>
    <dsp:sp modelId="{66F839EA-1216-4387-BF5F-361D2D94650D}">
      <dsp:nvSpPr>
        <dsp:cNvPr id="0" name=""/>
        <dsp:cNvSpPr/>
      </dsp:nvSpPr>
      <dsp:spPr>
        <a:xfrm>
          <a:off x="89287" y="2778710"/>
          <a:ext cx="1488184" cy="393697"/>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SPA</a:t>
          </a:r>
        </a:p>
      </dsp:txBody>
      <dsp:txXfrm>
        <a:off x="108506" y="2797929"/>
        <a:ext cx="1449746" cy="355259"/>
      </dsp:txXfrm>
    </dsp:sp>
    <dsp:sp modelId="{20E39DE7-734B-43EE-83E1-5DA2E5DB6F29}">
      <dsp:nvSpPr>
        <dsp:cNvPr id="0" name=""/>
        <dsp:cNvSpPr/>
      </dsp:nvSpPr>
      <dsp:spPr>
        <a:xfrm>
          <a:off x="2438392" y="2622039"/>
          <a:ext cx="1152351" cy="707037"/>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 </a:t>
          </a:r>
        </a:p>
        <a:p>
          <a:pPr marL="0" lvl="0" indent="0" algn="ctr" defTabSz="444500">
            <a:lnSpc>
              <a:spcPct val="90000"/>
            </a:lnSpc>
            <a:spcBef>
              <a:spcPct val="0"/>
            </a:spcBef>
            <a:spcAft>
              <a:spcPct val="35000"/>
            </a:spcAft>
            <a:buNone/>
          </a:pPr>
          <a:r>
            <a:rPr lang="en-US" sz="1000" b="1" u="none" kern="1200" dirty="0">
              <a:solidFill>
                <a:schemeClr val="tx1"/>
              </a:solidFill>
            </a:rPr>
            <a:t>(</a:t>
          </a:r>
          <a:r>
            <a:rPr lang="en-US" sz="1000" b="1" u="sng" kern="1200" dirty="0">
              <a:solidFill>
                <a:schemeClr val="tx1"/>
              </a:solidFill>
            </a:rPr>
            <a:t>&lt;</a:t>
          </a:r>
          <a:r>
            <a:rPr lang="en-US" sz="1000" b="1" u="none" kern="1200" dirty="0">
              <a:solidFill>
                <a:schemeClr val="tx1"/>
              </a:solidFill>
            </a:rPr>
            <a:t>90</a:t>
          </a:r>
          <a:r>
            <a:rPr lang="en-US" sz="1000" b="1" kern="1200" dirty="0">
              <a:solidFill>
                <a:schemeClr val="tx1"/>
              </a:solidFill>
            </a:rPr>
            <a:t> days)</a:t>
          </a:r>
        </a:p>
      </dsp:txBody>
      <dsp:txXfrm>
        <a:off x="2607150" y="2725582"/>
        <a:ext cx="814835" cy="499951"/>
      </dsp:txXfrm>
    </dsp:sp>
    <dsp:sp modelId="{34B92687-26AF-45EB-AA9C-D562FD3F5B8B}">
      <dsp:nvSpPr>
        <dsp:cNvPr id="0" name=""/>
        <dsp:cNvSpPr/>
      </dsp:nvSpPr>
      <dsp:spPr>
        <a:xfrm>
          <a:off x="89287" y="4236419"/>
          <a:ext cx="1488184" cy="393697"/>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1115 waiver</a:t>
          </a:r>
        </a:p>
      </dsp:txBody>
      <dsp:txXfrm>
        <a:off x="108506" y="4255638"/>
        <a:ext cx="1449746" cy="355259"/>
      </dsp:txXfrm>
    </dsp:sp>
    <dsp:sp modelId="{4DA49A07-9EA0-48E0-9D38-EEBB3D0A0EA8}">
      <dsp:nvSpPr>
        <dsp:cNvPr id="0" name=""/>
        <dsp:cNvSpPr/>
      </dsp:nvSpPr>
      <dsp:spPr>
        <a:xfrm>
          <a:off x="2438392" y="4079749"/>
          <a:ext cx="1152351" cy="707037"/>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Delay</a:t>
          </a:r>
        </a:p>
      </dsp:txBody>
      <dsp:txXfrm>
        <a:off x="2607150" y="4183292"/>
        <a:ext cx="814835" cy="499951"/>
      </dsp:txXfrm>
    </dsp:sp>
    <dsp:sp modelId="{185F49BA-0FB4-494E-888E-7DA48969E1D5}">
      <dsp:nvSpPr>
        <dsp:cNvPr id="0" name=""/>
        <dsp:cNvSpPr/>
      </dsp:nvSpPr>
      <dsp:spPr>
        <a:xfrm>
          <a:off x="4527600" y="4238650"/>
          <a:ext cx="1841570" cy="822961"/>
        </a:xfrm>
        <a:prstGeom prst="flowChartDisplay">
          <a:avLst/>
        </a:prstGeom>
        <a:solidFill>
          <a:srgbClr val="FFC000"/>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Delay</a:t>
          </a:r>
        </a:p>
      </dsp:txBody>
      <dsp:txXfrm>
        <a:off x="4834528" y="4238650"/>
        <a:ext cx="1227714" cy="822961"/>
      </dsp:txXfrm>
    </dsp:sp>
    <dsp:sp modelId="{1493CCFF-D6F7-4055-977E-E02F35F1D3DE}">
      <dsp:nvSpPr>
        <dsp:cNvPr id="0" name=""/>
        <dsp:cNvSpPr/>
      </dsp:nvSpPr>
      <dsp:spPr>
        <a:xfrm>
          <a:off x="89287" y="4780557"/>
          <a:ext cx="1488184" cy="393697"/>
        </a:xfrm>
        <a:prstGeom prst="roundRect">
          <a:avLst/>
        </a:prstGeom>
        <a:solidFill>
          <a:schemeClr val="bg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t>SPA</a:t>
          </a:r>
        </a:p>
      </dsp:txBody>
      <dsp:txXfrm>
        <a:off x="108506" y="4799776"/>
        <a:ext cx="1449746" cy="355259"/>
      </dsp:txXfrm>
    </dsp:sp>
    <dsp:sp modelId="{1E5E492B-8977-4BF8-9DC9-D4782DC096AF}">
      <dsp:nvSpPr>
        <dsp:cNvPr id="0" name=""/>
        <dsp:cNvSpPr/>
      </dsp:nvSpPr>
      <dsp:spPr>
        <a:xfrm>
          <a:off x="2438392" y="4623887"/>
          <a:ext cx="1152351" cy="707037"/>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tx1"/>
              </a:solidFill>
            </a:rPr>
            <a:t>Approved </a:t>
          </a:r>
        </a:p>
        <a:p>
          <a:pPr marL="0" lvl="0" indent="0" algn="ctr" defTabSz="444500">
            <a:lnSpc>
              <a:spcPct val="90000"/>
            </a:lnSpc>
            <a:spcBef>
              <a:spcPct val="0"/>
            </a:spcBef>
            <a:spcAft>
              <a:spcPct val="35000"/>
            </a:spcAft>
            <a:buNone/>
          </a:pPr>
          <a:r>
            <a:rPr lang="en-US" sz="1000" b="1" u="none" kern="1200" dirty="0">
              <a:solidFill>
                <a:schemeClr val="tx1"/>
              </a:solidFill>
            </a:rPr>
            <a:t>(</a:t>
          </a:r>
          <a:r>
            <a:rPr lang="en-US" sz="1000" b="1" u="sng" kern="1200" dirty="0">
              <a:solidFill>
                <a:schemeClr val="tx1"/>
              </a:solidFill>
            </a:rPr>
            <a:t>&lt;</a:t>
          </a:r>
          <a:r>
            <a:rPr lang="en-US" sz="1000" b="1" u="none" kern="1200" dirty="0">
              <a:solidFill>
                <a:schemeClr val="tx1"/>
              </a:solidFill>
            </a:rPr>
            <a:t>90</a:t>
          </a:r>
          <a:r>
            <a:rPr lang="en-US" sz="1000" b="1" kern="1200" dirty="0">
              <a:solidFill>
                <a:schemeClr val="tx1"/>
              </a:solidFill>
            </a:rPr>
            <a:t> days)</a:t>
          </a:r>
        </a:p>
      </dsp:txBody>
      <dsp:txXfrm>
        <a:off x="2607150" y="4727430"/>
        <a:ext cx="814835" cy="499951"/>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1" y="2"/>
            <a:ext cx="3006196" cy="464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268" tIns="46132" rIns="92268" bIns="46132" numCol="1" anchor="t" anchorCtr="0" compatLnSpc="1">
            <a:prstTxWarp prst="textNoShape">
              <a:avLst/>
            </a:prstTxWarp>
          </a:bodyPr>
          <a:lstStyle>
            <a:lvl1pPr defTabSz="921506" eaLnBrk="1" hangingPunct="1">
              <a:defRPr sz="1200">
                <a:latin typeface="Arial" charset="0"/>
              </a:defRPr>
            </a:lvl1pPr>
          </a:lstStyle>
          <a:p>
            <a:endParaRPr lang="en-US" altLang="en-US" dirty="0">
              <a:latin typeface="Calibri" panose="020F0502020204030204" pitchFamily="34" charset="0"/>
            </a:endParaRPr>
          </a:p>
        </p:txBody>
      </p:sp>
      <p:sp>
        <p:nvSpPr>
          <p:cNvPr id="47107" name="Rectangle 3"/>
          <p:cNvSpPr>
            <a:spLocks noGrp="1" noChangeArrowheads="1"/>
          </p:cNvSpPr>
          <p:nvPr>
            <p:ph type="dt" sz="quarter" idx="1"/>
          </p:nvPr>
        </p:nvSpPr>
        <p:spPr bwMode="auto">
          <a:xfrm>
            <a:off x="3928007" y="2"/>
            <a:ext cx="3006196" cy="464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268" tIns="46132" rIns="92268" bIns="46132" numCol="1" anchor="t" anchorCtr="0" compatLnSpc="1">
            <a:prstTxWarp prst="textNoShape">
              <a:avLst/>
            </a:prstTxWarp>
          </a:bodyPr>
          <a:lstStyle>
            <a:lvl1pPr algn="r" defTabSz="921506" eaLnBrk="1" hangingPunct="1">
              <a:defRPr sz="1200">
                <a:latin typeface="Arial" charset="0"/>
              </a:defRPr>
            </a:lvl1pPr>
          </a:lstStyle>
          <a:p>
            <a:endParaRPr lang="en-US" altLang="en-US" dirty="0">
              <a:latin typeface="Calibri" panose="020F0502020204030204" pitchFamily="34" charset="0"/>
            </a:endParaRPr>
          </a:p>
        </p:txBody>
      </p:sp>
      <p:sp>
        <p:nvSpPr>
          <p:cNvPr id="47108" name="Rectangle 4"/>
          <p:cNvSpPr>
            <a:spLocks noGrp="1" noChangeArrowheads="1"/>
          </p:cNvSpPr>
          <p:nvPr>
            <p:ph type="ftr" sz="quarter" idx="2"/>
          </p:nvPr>
        </p:nvSpPr>
        <p:spPr bwMode="auto">
          <a:xfrm>
            <a:off x="1" y="8755990"/>
            <a:ext cx="3006196" cy="464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268" tIns="46132" rIns="92268" bIns="46132" numCol="1" anchor="b" anchorCtr="0" compatLnSpc="1">
            <a:prstTxWarp prst="textNoShape">
              <a:avLst/>
            </a:prstTxWarp>
          </a:bodyPr>
          <a:lstStyle>
            <a:lvl1pPr defTabSz="921506" eaLnBrk="1" hangingPunct="1">
              <a:defRPr sz="1200">
                <a:latin typeface="Arial" charset="0"/>
              </a:defRPr>
            </a:lvl1pPr>
          </a:lstStyle>
          <a:p>
            <a:endParaRPr lang="en-US" altLang="en-US" dirty="0">
              <a:latin typeface="Calibri" panose="020F0502020204030204" pitchFamily="34" charset="0"/>
            </a:endParaRPr>
          </a:p>
        </p:txBody>
      </p:sp>
      <p:sp>
        <p:nvSpPr>
          <p:cNvPr id="47109" name="Rectangle 5"/>
          <p:cNvSpPr>
            <a:spLocks noGrp="1" noChangeArrowheads="1"/>
          </p:cNvSpPr>
          <p:nvPr>
            <p:ph type="sldNum" sz="quarter" idx="3"/>
          </p:nvPr>
        </p:nvSpPr>
        <p:spPr bwMode="auto">
          <a:xfrm>
            <a:off x="3928007" y="8755990"/>
            <a:ext cx="3006196" cy="464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268" tIns="46132" rIns="92268" bIns="46132" numCol="1" anchor="b" anchorCtr="0" compatLnSpc="1">
            <a:prstTxWarp prst="textNoShape">
              <a:avLst/>
            </a:prstTxWarp>
          </a:bodyPr>
          <a:lstStyle>
            <a:lvl1pPr algn="r" defTabSz="921506" eaLnBrk="1" hangingPunct="1">
              <a:defRPr sz="1200">
                <a:latin typeface="Arial" charset="0"/>
              </a:defRPr>
            </a:lvl1pPr>
          </a:lstStyle>
          <a:p>
            <a:fld id="{5622946C-D679-49CF-A9D0-9A20B1420ABF}" type="slidenum">
              <a:rPr lang="en-US" altLang="en-US">
                <a:latin typeface="Calibri" panose="020F0502020204030204" pitchFamily="34" charset="0"/>
              </a:rPr>
              <a:pPr/>
              <a:t>‹#›</a:t>
            </a:fld>
            <a:endParaRPr lang="en-US" altLang="en-US" dirty="0">
              <a:latin typeface="Calibri" panose="020F0502020204030204" pitchFamily="34" charset="0"/>
            </a:endParaRPr>
          </a:p>
        </p:txBody>
      </p:sp>
    </p:spTree>
    <p:extLst>
      <p:ext uri="{BB962C8B-B14F-4D97-AF65-F5344CB8AC3E}">
        <p14:creationId xmlns:p14="http://schemas.microsoft.com/office/powerpoint/2010/main" val="7277424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42" name="Rectangle 2"/>
          <p:cNvSpPr>
            <a:spLocks noGrp="1" noChangeArrowheads="1"/>
          </p:cNvSpPr>
          <p:nvPr>
            <p:ph type="hdr" sz="quarter"/>
          </p:nvPr>
        </p:nvSpPr>
        <p:spPr bwMode="auto">
          <a:xfrm>
            <a:off x="0" y="1"/>
            <a:ext cx="3005050" cy="4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892" tIns="45446" rIns="90892" bIns="45446" numCol="1" anchor="t" anchorCtr="0" compatLnSpc="1">
            <a:prstTxWarp prst="textNoShape">
              <a:avLst/>
            </a:prstTxWarp>
          </a:bodyPr>
          <a:lstStyle>
            <a:lvl1pPr defTabSz="909379" eaLnBrk="1" hangingPunct="1">
              <a:defRPr sz="1200">
                <a:latin typeface="Calibri" panose="020F0502020204030204" pitchFamily="34" charset="0"/>
              </a:defRPr>
            </a:lvl1pPr>
          </a:lstStyle>
          <a:p>
            <a:endParaRPr lang="en-US" altLang="en-US" dirty="0"/>
          </a:p>
        </p:txBody>
      </p:sp>
      <p:sp>
        <p:nvSpPr>
          <p:cNvPr id="163843" name="Rectangle 3"/>
          <p:cNvSpPr>
            <a:spLocks noGrp="1" noChangeArrowheads="1"/>
          </p:cNvSpPr>
          <p:nvPr>
            <p:ph type="dt" idx="1"/>
          </p:nvPr>
        </p:nvSpPr>
        <p:spPr bwMode="auto">
          <a:xfrm>
            <a:off x="3928005" y="1"/>
            <a:ext cx="3005050" cy="4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892" tIns="45446" rIns="90892" bIns="45446" numCol="1" anchor="t" anchorCtr="0" compatLnSpc="1">
            <a:prstTxWarp prst="textNoShape">
              <a:avLst/>
            </a:prstTxWarp>
          </a:bodyPr>
          <a:lstStyle>
            <a:lvl1pPr algn="r" defTabSz="909379" eaLnBrk="1" hangingPunct="1">
              <a:defRPr sz="1200">
                <a:latin typeface="Calibri" panose="020F0502020204030204" pitchFamily="34" charset="0"/>
              </a:defRPr>
            </a:lvl1pPr>
          </a:lstStyle>
          <a:p>
            <a:fld id="{AD81CF3A-138C-42AD-8098-A42E171B5DC7}" type="datetimeFigureOut">
              <a:rPr lang="en-US" altLang="en-US" smtClean="0"/>
              <a:pPr/>
              <a:t>12/11/2019</a:t>
            </a:fld>
            <a:endParaRPr lang="en-US" altLang="en-US" dirty="0"/>
          </a:p>
        </p:txBody>
      </p:sp>
      <p:sp>
        <p:nvSpPr>
          <p:cNvPr id="163844" name="Rectangle 4"/>
          <p:cNvSpPr>
            <a:spLocks noGrp="1" noRot="1" noChangeAspect="1" noChangeArrowheads="1" noTextEdit="1"/>
          </p:cNvSpPr>
          <p:nvPr>
            <p:ph type="sldImg" idx="2"/>
          </p:nvPr>
        </p:nvSpPr>
        <p:spPr bwMode="auto">
          <a:xfrm>
            <a:off x="1230313" y="688975"/>
            <a:ext cx="4473575" cy="345757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63845" name="Rectangle 5"/>
          <p:cNvSpPr>
            <a:spLocks noGrp="1" noChangeArrowheads="1"/>
          </p:cNvSpPr>
          <p:nvPr>
            <p:ph type="body" sz="quarter" idx="3"/>
          </p:nvPr>
        </p:nvSpPr>
        <p:spPr bwMode="auto">
          <a:xfrm>
            <a:off x="693650" y="4379998"/>
            <a:ext cx="5546901" cy="41498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892" tIns="45446" rIns="90892" bIns="45446"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63846" name="Rectangle 6"/>
          <p:cNvSpPr>
            <a:spLocks noGrp="1" noChangeArrowheads="1"/>
          </p:cNvSpPr>
          <p:nvPr>
            <p:ph type="ftr" sz="quarter" idx="4"/>
          </p:nvPr>
        </p:nvSpPr>
        <p:spPr bwMode="auto">
          <a:xfrm>
            <a:off x="0" y="8755990"/>
            <a:ext cx="3005050" cy="4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892" tIns="45446" rIns="90892" bIns="45446" numCol="1" anchor="b" anchorCtr="0" compatLnSpc="1">
            <a:prstTxWarp prst="textNoShape">
              <a:avLst/>
            </a:prstTxWarp>
          </a:bodyPr>
          <a:lstStyle>
            <a:lvl1pPr defTabSz="909379" eaLnBrk="1" hangingPunct="1">
              <a:defRPr sz="1200">
                <a:latin typeface="Calibri" panose="020F0502020204030204" pitchFamily="34" charset="0"/>
              </a:defRPr>
            </a:lvl1pPr>
          </a:lstStyle>
          <a:p>
            <a:endParaRPr lang="en-US" altLang="en-US" dirty="0"/>
          </a:p>
        </p:txBody>
      </p:sp>
      <p:sp>
        <p:nvSpPr>
          <p:cNvPr id="163847" name="Rectangle 7"/>
          <p:cNvSpPr>
            <a:spLocks noGrp="1" noChangeArrowheads="1"/>
          </p:cNvSpPr>
          <p:nvPr>
            <p:ph type="sldNum" sz="quarter" idx="5"/>
          </p:nvPr>
        </p:nvSpPr>
        <p:spPr bwMode="auto">
          <a:xfrm>
            <a:off x="3928005" y="8755990"/>
            <a:ext cx="3005050" cy="46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892" tIns="45446" rIns="90892" bIns="45446" numCol="1" anchor="b" anchorCtr="0" compatLnSpc="1">
            <a:prstTxWarp prst="textNoShape">
              <a:avLst/>
            </a:prstTxWarp>
          </a:bodyPr>
          <a:lstStyle>
            <a:lvl1pPr algn="r" defTabSz="909379" eaLnBrk="1" hangingPunct="1">
              <a:defRPr sz="1200">
                <a:latin typeface="Calibri" panose="020F0502020204030204" pitchFamily="34" charset="0"/>
              </a:defRPr>
            </a:lvl1pPr>
          </a:lstStyle>
          <a:p>
            <a:fld id="{9F9BB6B2-C4E8-4679-B978-34E14ACC8699}" type="slidenum">
              <a:rPr lang="en-US" altLang="en-US" smtClean="0"/>
              <a:pPr/>
              <a:t>‹#›</a:t>
            </a:fld>
            <a:endParaRPr lang="en-US" altLang="en-US" dirty="0"/>
          </a:p>
        </p:txBody>
      </p:sp>
    </p:spTree>
    <p:extLst>
      <p:ext uri="{BB962C8B-B14F-4D97-AF65-F5344CB8AC3E}">
        <p14:creationId xmlns:p14="http://schemas.microsoft.com/office/powerpoint/2010/main" val="347298778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Calibri" pitchFamily="34" charset="0"/>
        <a:ea typeface="+mn-ea"/>
        <a:cs typeface="+mn-cs"/>
      </a:defRPr>
    </a:lvl1pPr>
    <a:lvl2pPr marL="457200" algn="l" rtl="0" fontAlgn="base">
      <a:spcBef>
        <a:spcPct val="30000"/>
      </a:spcBef>
      <a:spcAft>
        <a:spcPct val="0"/>
      </a:spcAft>
      <a:defRPr sz="1200" kern="1200">
        <a:solidFill>
          <a:schemeClr val="tx1"/>
        </a:solidFill>
        <a:latin typeface="Calibri" pitchFamily="34" charset="0"/>
        <a:ea typeface="+mn-ea"/>
        <a:cs typeface="+mn-cs"/>
      </a:defRPr>
    </a:lvl2pPr>
    <a:lvl3pPr marL="914400" algn="l" rtl="0" fontAlgn="base">
      <a:spcBef>
        <a:spcPct val="30000"/>
      </a:spcBef>
      <a:spcAft>
        <a:spcPct val="0"/>
      </a:spcAft>
      <a:defRPr sz="1200" kern="1200">
        <a:solidFill>
          <a:schemeClr val="tx1"/>
        </a:solidFill>
        <a:latin typeface="Calibri" pitchFamily="34" charset="0"/>
        <a:ea typeface="+mn-ea"/>
        <a:cs typeface="+mn-cs"/>
      </a:defRPr>
    </a:lvl3pPr>
    <a:lvl4pPr marL="1371600" algn="l" rtl="0" fontAlgn="base">
      <a:spcBef>
        <a:spcPct val="30000"/>
      </a:spcBef>
      <a:spcAft>
        <a:spcPct val="0"/>
      </a:spcAft>
      <a:defRPr sz="1200" kern="1200">
        <a:solidFill>
          <a:schemeClr val="tx1"/>
        </a:solidFill>
        <a:latin typeface="Calibri" pitchFamily="34" charset="0"/>
        <a:ea typeface="+mn-ea"/>
        <a:cs typeface="+mn-cs"/>
      </a:defRPr>
    </a:lvl4pPr>
    <a:lvl5pPr marL="1828800" algn="l" rtl="0" fontAlgn="base">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0</a:t>
            </a:fld>
            <a:endParaRPr lang="en-US" altLang="en-US" dirty="0"/>
          </a:p>
        </p:txBody>
      </p:sp>
    </p:spTree>
    <p:extLst>
      <p:ext uri="{BB962C8B-B14F-4D97-AF65-F5344CB8AC3E}">
        <p14:creationId xmlns:p14="http://schemas.microsoft.com/office/powerpoint/2010/main" val="7347607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9</a:t>
            </a:fld>
            <a:endParaRPr lang="en-US" altLang="en-US" dirty="0"/>
          </a:p>
        </p:txBody>
      </p:sp>
    </p:spTree>
    <p:extLst>
      <p:ext uri="{BB962C8B-B14F-4D97-AF65-F5344CB8AC3E}">
        <p14:creationId xmlns:p14="http://schemas.microsoft.com/office/powerpoint/2010/main" val="30787334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10</a:t>
            </a:fld>
            <a:endParaRPr lang="en-US" altLang="en-US" dirty="0"/>
          </a:p>
        </p:txBody>
      </p:sp>
    </p:spTree>
    <p:extLst>
      <p:ext uri="{BB962C8B-B14F-4D97-AF65-F5344CB8AC3E}">
        <p14:creationId xmlns:p14="http://schemas.microsoft.com/office/powerpoint/2010/main" val="33181236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11</a:t>
            </a:fld>
            <a:endParaRPr lang="en-US" altLang="en-US" dirty="0"/>
          </a:p>
        </p:txBody>
      </p:sp>
    </p:spTree>
    <p:extLst>
      <p:ext uri="{BB962C8B-B14F-4D97-AF65-F5344CB8AC3E}">
        <p14:creationId xmlns:p14="http://schemas.microsoft.com/office/powerpoint/2010/main" val="329826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7772">
              <a:defRPr/>
            </a:pPr>
            <a:endParaRPr lang="en-US" dirty="0">
              <a:solidFill>
                <a:srgbClr val="000000"/>
              </a:solidFill>
              <a:latin typeface="Calibri"/>
            </a:endParaRPr>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12</a:t>
            </a:fld>
            <a:endParaRPr lang="en-US" altLang="en-US" dirty="0"/>
          </a:p>
        </p:txBody>
      </p:sp>
    </p:spTree>
    <p:extLst>
      <p:ext uri="{BB962C8B-B14F-4D97-AF65-F5344CB8AC3E}">
        <p14:creationId xmlns:p14="http://schemas.microsoft.com/office/powerpoint/2010/main" val="3996345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1</a:t>
            </a:fld>
            <a:endParaRPr lang="en-US" altLang="en-US" dirty="0"/>
          </a:p>
        </p:txBody>
      </p:sp>
    </p:spTree>
    <p:extLst>
      <p:ext uri="{BB962C8B-B14F-4D97-AF65-F5344CB8AC3E}">
        <p14:creationId xmlns:p14="http://schemas.microsoft.com/office/powerpoint/2010/main" val="149009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2</a:t>
            </a:fld>
            <a:endParaRPr lang="en-US" altLang="en-US" dirty="0"/>
          </a:p>
        </p:txBody>
      </p:sp>
    </p:spTree>
    <p:extLst>
      <p:ext uri="{BB962C8B-B14F-4D97-AF65-F5344CB8AC3E}">
        <p14:creationId xmlns:p14="http://schemas.microsoft.com/office/powerpoint/2010/main" val="195196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3</a:t>
            </a:fld>
            <a:endParaRPr lang="en-US" altLang="en-US" dirty="0"/>
          </a:p>
        </p:txBody>
      </p:sp>
    </p:spTree>
    <p:extLst>
      <p:ext uri="{BB962C8B-B14F-4D97-AF65-F5344CB8AC3E}">
        <p14:creationId xmlns:p14="http://schemas.microsoft.com/office/powerpoint/2010/main" val="1951963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4</a:t>
            </a:fld>
            <a:endParaRPr lang="en-US" altLang="en-US" dirty="0"/>
          </a:p>
        </p:txBody>
      </p:sp>
    </p:spTree>
    <p:extLst>
      <p:ext uri="{BB962C8B-B14F-4D97-AF65-F5344CB8AC3E}">
        <p14:creationId xmlns:p14="http://schemas.microsoft.com/office/powerpoint/2010/main" val="1951963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5</a:t>
            </a:fld>
            <a:endParaRPr lang="en-US" altLang="en-US" dirty="0"/>
          </a:p>
        </p:txBody>
      </p:sp>
    </p:spTree>
    <p:extLst>
      <p:ext uri="{BB962C8B-B14F-4D97-AF65-F5344CB8AC3E}">
        <p14:creationId xmlns:p14="http://schemas.microsoft.com/office/powerpoint/2010/main" val="195196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6</a:t>
            </a:fld>
            <a:endParaRPr lang="en-US" altLang="en-US" dirty="0"/>
          </a:p>
        </p:txBody>
      </p:sp>
    </p:spTree>
    <p:extLst>
      <p:ext uri="{BB962C8B-B14F-4D97-AF65-F5344CB8AC3E}">
        <p14:creationId xmlns:p14="http://schemas.microsoft.com/office/powerpoint/2010/main" val="1147257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7</a:t>
            </a:fld>
            <a:endParaRPr lang="en-US" altLang="en-US" dirty="0"/>
          </a:p>
        </p:txBody>
      </p:sp>
    </p:spTree>
    <p:extLst>
      <p:ext uri="{BB962C8B-B14F-4D97-AF65-F5344CB8AC3E}">
        <p14:creationId xmlns:p14="http://schemas.microsoft.com/office/powerpoint/2010/main" val="1951963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8</a:t>
            </a:fld>
            <a:endParaRPr lang="en-US" altLang="en-US" dirty="0"/>
          </a:p>
        </p:txBody>
      </p:sp>
    </p:spTree>
    <p:extLst>
      <p:ext uri="{BB962C8B-B14F-4D97-AF65-F5344CB8AC3E}">
        <p14:creationId xmlns:p14="http://schemas.microsoft.com/office/powerpoint/2010/main" val="1951963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p:cNvSpPr>
            <a:spLocks noChangeArrowheads="1"/>
          </p:cNvSpPr>
          <p:nvPr userDrawn="1"/>
        </p:nvSpPr>
        <p:spPr bwMode="ltGray">
          <a:xfrm>
            <a:off x="457200" y="304800"/>
            <a:ext cx="9144000" cy="7162800"/>
          </a:xfrm>
          <a:prstGeom prst="rect">
            <a:avLst/>
          </a:prstGeom>
          <a:solidFill>
            <a:schemeClr val="bg2"/>
          </a:solidFill>
          <a:ln w="9525">
            <a:noFill/>
            <a:miter lim="800000"/>
            <a:headEnd/>
            <a:tailEnd/>
          </a:ln>
        </p:spPr>
        <p:txBody>
          <a:bodyPr wrap="none" lIns="101858" tIns="50929" rIns="101858" bIns="50929" anchor="ctr"/>
          <a:lstStyle/>
          <a:p>
            <a:endParaRPr lang="en-US" dirty="0">
              <a:solidFill>
                <a:prstClr val="black"/>
              </a:solidFill>
              <a:latin typeface="Calibri" pitchFamily="34" charset="0"/>
            </a:endParaRPr>
          </a:p>
        </p:txBody>
      </p:sp>
      <p:sp>
        <p:nvSpPr>
          <p:cNvPr id="2" name="Title 1"/>
          <p:cNvSpPr>
            <a:spLocks noGrp="1"/>
          </p:cNvSpPr>
          <p:nvPr>
            <p:ph type="ctrTitle"/>
          </p:nvPr>
        </p:nvSpPr>
        <p:spPr>
          <a:xfrm>
            <a:off x="1371600" y="2895600"/>
            <a:ext cx="7315200" cy="1781414"/>
          </a:xfrm>
        </p:spPr>
        <p:txBody>
          <a:bodyPr wrap="square" bIns="0">
            <a:normAutofit/>
          </a:bodyPr>
          <a:lstStyle>
            <a:lvl1pPr algn="ctr">
              <a:defRPr sz="3600">
                <a:solidFill>
                  <a:schemeClr val="bg1"/>
                </a:solidFill>
              </a:defRPr>
            </a:lvl1pPr>
          </a:lstStyle>
          <a:p>
            <a:r>
              <a:rPr lang="en-US" dirty="0"/>
              <a:t>Click to edit Master title style</a:t>
            </a:r>
          </a:p>
        </p:txBody>
      </p:sp>
      <p:sp>
        <p:nvSpPr>
          <p:cNvPr id="9" name="Line 8"/>
          <p:cNvSpPr>
            <a:spLocks noChangeShapeType="1"/>
          </p:cNvSpPr>
          <p:nvPr userDrawn="1"/>
        </p:nvSpPr>
        <p:spPr bwMode="auto">
          <a:xfrm flipV="1">
            <a:off x="457200" y="4814497"/>
            <a:ext cx="9144000" cy="0"/>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lIns="113517" tIns="56758" rIns="113517" bIns="56758"/>
          <a:lstStyle/>
          <a:p>
            <a:endParaRPr lang="en-US" sz="2200" dirty="0">
              <a:solidFill>
                <a:srgbClr val="000000"/>
              </a:solidFill>
              <a:latin typeface="Calibri" pitchFamily="34" charset="0"/>
              <a:ea typeface="MS PGothic"/>
              <a:cs typeface="Calibri" panose="020F0502020204030204" pitchFamily="34" charset="0"/>
            </a:endParaRPr>
          </a:p>
        </p:txBody>
      </p:sp>
      <p:pic>
        <p:nvPicPr>
          <p:cNvPr id="11" name="Picture 3" descr="MP-logo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315200" y="304800"/>
            <a:ext cx="1371600" cy="650875"/>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0" hasCustomPrompt="1"/>
          </p:nvPr>
        </p:nvSpPr>
        <p:spPr>
          <a:xfrm>
            <a:off x="1371600" y="4951980"/>
            <a:ext cx="7315199" cy="1987550"/>
          </a:xfrm>
        </p:spPr>
        <p:txBody>
          <a:bodyPr/>
          <a:lstStyle>
            <a:lvl1pPr marL="0" indent="0" algn="ctr">
              <a:buFontTx/>
              <a:buNone/>
              <a:defRPr sz="2700" b="1" baseline="0">
                <a:solidFill>
                  <a:schemeClr val="bg1"/>
                </a:solidFill>
              </a:defRPr>
            </a:lvl1pPr>
            <a:lvl2pPr marL="0" indent="0" algn="ctr">
              <a:buFontTx/>
              <a:buNone/>
              <a:defRPr b="0">
                <a:solidFill>
                  <a:schemeClr val="bg1"/>
                </a:solidFill>
              </a:defRPr>
            </a:lvl2pPr>
            <a:lvl3pPr marL="571500" indent="0">
              <a:buFontTx/>
              <a:buNone/>
              <a:defRPr>
                <a:solidFill>
                  <a:schemeClr val="bg1"/>
                </a:solidFill>
              </a:defRPr>
            </a:lvl3pPr>
            <a:lvl4pPr marL="800100" indent="0">
              <a:buFontTx/>
              <a:buNone/>
              <a:defRPr>
                <a:solidFill>
                  <a:schemeClr val="bg1"/>
                </a:solidFill>
              </a:defRPr>
            </a:lvl4pPr>
            <a:lvl5pPr marL="1085850" indent="0">
              <a:buFontTx/>
              <a:buNone/>
              <a:defRPr>
                <a:solidFill>
                  <a:schemeClr val="bg1"/>
                </a:solidFill>
              </a:defRPr>
            </a:lvl5pPr>
          </a:lstStyle>
          <a:p>
            <a:pPr lvl="0"/>
            <a:r>
              <a:rPr lang="en-US" dirty="0"/>
              <a:t>Click to edit Master subtitle style</a:t>
            </a:r>
          </a:p>
          <a:p>
            <a:pPr lvl="1"/>
            <a:r>
              <a:rPr lang="en-US" dirty="0"/>
              <a:t>Second level</a:t>
            </a:r>
          </a:p>
        </p:txBody>
      </p:sp>
    </p:spTree>
    <p:extLst>
      <p:ext uri="{BB962C8B-B14F-4D97-AF65-F5344CB8AC3E}">
        <p14:creationId xmlns:p14="http://schemas.microsoft.com/office/powerpoint/2010/main" val="1208138970"/>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Footer Placeholder 4"/>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7" name="Content Placeholder 6"/>
          <p:cNvSpPr>
            <a:spLocks noGrp="1"/>
          </p:cNvSpPr>
          <p:nvPr>
            <p:ph sz="quarter" idx="11"/>
          </p:nvPr>
        </p:nvSpPr>
        <p:spPr>
          <a:xfrm>
            <a:off x="457200" y="1219200"/>
            <a:ext cx="4495800" cy="56388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2"/>
          </p:nvPr>
        </p:nvSpPr>
        <p:spPr>
          <a:xfrm>
            <a:off x="5105400" y="1219200"/>
            <a:ext cx="4495800" cy="56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1484648"/>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2-up">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57200" y="1219200"/>
            <a:ext cx="4498848" cy="725488"/>
          </a:xfrm>
          <a:solidFill>
            <a:schemeClr val="accent2"/>
          </a:solidFill>
          <a:ln>
            <a:noFill/>
          </a:ln>
        </p:spPr>
        <p:txBody>
          <a:bodyPr vert="horz" wrap="square" lIns="101854" tIns="54864" rIns="101854" bIns="50927" numCol="1" anchor="ctr" anchorCtr="0" compatLnSpc="1">
            <a:prstTxWarp prst="textNoShape">
              <a:avLst/>
            </a:prstTxWarp>
            <a:normAutofit/>
          </a:bodyPr>
          <a:lstStyle>
            <a:lvl1pPr marL="171450" indent="-171450" algn="ctr">
              <a:buNone/>
              <a:defRPr lang="en-US" b="1" smtClean="0">
                <a:solidFill>
                  <a:schemeClr val="bg1"/>
                </a:solidFill>
              </a:defRPr>
            </a:lvl1pPr>
          </a:lstStyle>
          <a:p>
            <a:pPr marL="0" lvl="0" indent="0" algn="ctr"/>
            <a:r>
              <a:rPr lang="en-US" dirty="0"/>
              <a:t>Click to edit Master text styles</a:t>
            </a:r>
          </a:p>
        </p:txBody>
      </p:sp>
      <p:sp>
        <p:nvSpPr>
          <p:cNvPr id="5" name="Text Placeholder 4"/>
          <p:cNvSpPr>
            <a:spLocks noGrp="1"/>
          </p:cNvSpPr>
          <p:nvPr>
            <p:ph type="body" sz="quarter" idx="3"/>
          </p:nvPr>
        </p:nvSpPr>
        <p:spPr bwMode="ltGray">
          <a:xfrm>
            <a:off x="5105399" y="1219200"/>
            <a:ext cx="4498848" cy="725488"/>
          </a:xfrm>
          <a:solidFill>
            <a:schemeClr val="tx2"/>
          </a:solidFill>
          <a:ln>
            <a:noFill/>
          </a:ln>
        </p:spPr>
        <p:txBody>
          <a:bodyPr vert="horz" wrap="square" lIns="101854" tIns="54864" rIns="101854" bIns="50927" numCol="1" anchor="ctr" anchorCtr="0" compatLnSpc="1">
            <a:prstTxWarp prst="textNoShape">
              <a:avLst/>
            </a:prstTxWarp>
            <a:normAutofit/>
          </a:bodyPr>
          <a:lstStyle>
            <a:lvl1pPr marL="171450" indent="-171450" algn="ctr">
              <a:buNone/>
              <a:defRPr lang="en-US" b="1" smtClean="0">
                <a:solidFill>
                  <a:schemeClr val="bg1"/>
                </a:solidFill>
              </a:defRPr>
            </a:lvl1pPr>
          </a:lstStyle>
          <a:p>
            <a:pPr marL="0" lvl="0" indent="0" algn="ctr"/>
            <a:r>
              <a:rPr lang="en-US" dirty="0"/>
              <a:t>Click to edit Master text styles</a:t>
            </a:r>
          </a:p>
        </p:txBody>
      </p:sp>
      <p:sp>
        <p:nvSpPr>
          <p:cNvPr id="7" name="Footer Placeholder 6"/>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10" name="Content Placeholder 9"/>
          <p:cNvSpPr>
            <a:spLocks noGrp="1"/>
          </p:cNvSpPr>
          <p:nvPr>
            <p:ph sz="quarter" idx="11"/>
          </p:nvPr>
        </p:nvSpPr>
        <p:spPr>
          <a:xfrm>
            <a:off x="457200" y="1944688"/>
            <a:ext cx="4498848" cy="4913312"/>
          </a:xfrm>
          <a:solidFill>
            <a:schemeClr val="accent2">
              <a:lumMod val="40000"/>
              <a:lumOff val="60000"/>
            </a:schemeClr>
          </a:solidFill>
        </p:spPr>
        <p:txBody>
          <a:bodyPr tIns="91440" bIns="91440"/>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5105399" y="1944688"/>
            <a:ext cx="4498848" cy="4913312"/>
          </a:xfrm>
          <a:solidFill>
            <a:schemeClr val="bg1">
              <a:lumMod val="85000"/>
            </a:schemeClr>
          </a:solidFill>
        </p:spPr>
        <p:txBody>
          <a:bodyPr tIns="91440" bIns="91440"/>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4620262"/>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3-up">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57200" y="1224116"/>
            <a:ext cx="2971800" cy="725488"/>
          </a:xfrm>
          <a:solidFill>
            <a:schemeClr val="accent2"/>
          </a:solidFill>
          <a:ln>
            <a:noFill/>
          </a:ln>
        </p:spPr>
        <p:txBody>
          <a:bodyPr vert="horz" wrap="square" lIns="101854" tIns="54864" rIns="101854" bIns="50927" numCol="1" anchor="ctr" anchorCtr="0" compatLnSpc="1">
            <a:prstTxWarp prst="textNoShape">
              <a:avLst/>
            </a:prstTxWarp>
            <a:normAutofit/>
          </a:bodyPr>
          <a:lstStyle>
            <a:lvl1pPr marL="171450" indent="-171450" algn="ctr">
              <a:buNone/>
              <a:defRPr lang="en-US" b="1" smtClean="0">
                <a:solidFill>
                  <a:schemeClr val="bg1"/>
                </a:solidFill>
              </a:defRPr>
            </a:lvl1pPr>
          </a:lstStyle>
          <a:p>
            <a:pPr marL="0" lvl="0" indent="0" algn="ctr"/>
            <a:r>
              <a:rPr lang="en-US" dirty="0"/>
              <a:t>Click to edit Master text styles</a:t>
            </a:r>
          </a:p>
        </p:txBody>
      </p:sp>
      <p:sp>
        <p:nvSpPr>
          <p:cNvPr id="5" name="Text Placeholder 4"/>
          <p:cNvSpPr>
            <a:spLocks noGrp="1"/>
          </p:cNvSpPr>
          <p:nvPr>
            <p:ph type="body" sz="quarter" idx="3"/>
          </p:nvPr>
        </p:nvSpPr>
        <p:spPr bwMode="ltGray">
          <a:xfrm>
            <a:off x="3543300" y="1224116"/>
            <a:ext cx="2971800" cy="725488"/>
          </a:xfrm>
          <a:solidFill>
            <a:schemeClr val="tx2"/>
          </a:solidFill>
          <a:ln>
            <a:noFill/>
          </a:ln>
        </p:spPr>
        <p:txBody>
          <a:bodyPr vert="horz" wrap="square" lIns="101854" tIns="54864" rIns="101854" bIns="50927" numCol="1" anchor="ctr" anchorCtr="0" compatLnSpc="1">
            <a:prstTxWarp prst="textNoShape">
              <a:avLst/>
            </a:prstTxWarp>
            <a:normAutofit/>
          </a:bodyPr>
          <a:lstStyle>
            <a:lvl1pPr marL="171450" indent="-171450" algn="ctr">
              <a:buNone/>
              <a:defRPr lang="en-US" b="1" smtClean="0">
                <a:solidFill>
                  <a:schemeClr val="bg1"/>
                </a:solidFill>
              </a:defRPr>
            </a:lvl1pPr>
          </a:lstStyle>
          <a:p>
            <a:pPr marL="0" lvl="0" indent="0" algn="ctr"/>
            <a:r>
              <a:rPr lang="en-US" dirty="0"/>
              <a:t>Click to edit Master text styles</a:t>
            </a:r>
          </a:p>
        </p:txBody>
      </p:sp>
      <p:sp>
        <p:nvSpPr>
          <p:cNvPr id="7" name="Footer Placeholder 6"/>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10" name="Content Placeholder 9"/>
          <p:cNvSpPr>
            <a:spLocks noGrp="1"/>
          </p:cNvSpPr>
          <p:nvPr>
            <p:ph sz="quarter" idx="11"/>
          </p:nvPr>
        </p:nvSpPr>
        <p:spPr>
          <a:xfrm>
            <a:off x="457200" y="1949604"/>
            <a:ext cx="2971800" cy="4908396"/>
          </a:xfrm>
          <a:solidFill>
            <a:schemeClr val="accent2">
              <a:lumMod val="40000"/>
              <a:lumOff val="60000"/>
            </a:schemeClr>
          </a:solidFill>
        </p:spPr>
        <p:txBody>
          <a:bodyPr tIns="91440" bIns="91440"/>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3543300" y="1949604"/>
            <a:ext cx="2971800" cy="4908396"/>
          </a:xfrm>
          <a:solidFill>
            <a:schemeClr val="bg1">
              <a:lumMod val="85000"/>
            </a:schemeClr>
          </a:solidFill>
        </p:spPr>
        <p:txBody>
          <a:bodyPr tIns="91440" bIns="91440"/>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
        <p:nvSpPr>
          <p:cNvPr id="11" name="Text Placeholder 4"/>
          <p:cNvSpPr>
            <a:spLocks noGrp="1"/>
          </p:cNvSpPr>
          <p:nvPr>
            <p:ph type="body" sz="quarter" idx="13"/>
          </p:nvPr>
        </p:nvSpPr>
        <p:spPr bwMode="ltGray">
          <a:xfrm>
            <a:off x="6629400" y="1224116"/>
            <a:ext cx="2971800" cy="725488"/>
          </a:xfrm>
          <a:solidFill>
            <a:schemeClr val="accent1"/>
          </a:solidFill>
          <a:ln>
            <a:noFill/>
          </a:ln>
        </p:spPr>
        <p:txBody>
          <a:bodyPr vert="horz" wrap="square" lIns="101854" tIns="54864" rIns="101854" bIns="50927" numCol="1" anchor="ctr" anchorCtr="0" compatLnSpc="1">
            <a:prstTxWarp prst="textNoShape">
              <a:avLst/>
            </a:prstTxWarp>
            <a:normAutofit/>
          </a:bodyPr>
          <a:lstStyle>
            <a:lvl1pPr marL="171450" indent="-171450" algn="ctr">
              <a:buNone/>
              <a:defRPr lang="en-US" b="1" smtClean="0">
                <a:solidFill>
                  <a:schemeClr val="bg1"/>
                </a:solidFill>
              </a:defRPr>
            </a:lvl1pPr>
          </a:lstStyle>
          <a:p>
            <a:pPr marL="0" lvl="0" indent="0" algn="ctr"/>
            <a:r>
              <a:rPr lang="en-US" dirty="0"/>
              <a:t>Click to edit Master text styles</a:t>
            </a:r>
          </a:p>
        </p:txBody>
      </p:sp>
      <p:sp>
        <p:nvSpPr>
          <p:cNvPr id="13" name="Content Placeholder 11"/>
          <p:cNvSpPr>
            <a:spLocks noGrp="1"/>
          </p:cNvSpPr>
          <p:nvPr>
            <p:ph sz="quarter" idx="14"/>
          </p:nvPr>
        </p:nvSpPr>
        <p:spPr>
          <a:xfrm>
            <a:off x="6629400" y="1949604"/>
            <a:ext cx="2971800" cy="4908396"/>
          </a:xfrm>
          <a:solidFill>
            <a:schemeClr val="accent1">
              <a:lumMod val="40000"/>
              <a:lumOff val="60000"/>
            </a:schemeClr>
          </a:solidFill>
        </p:spPr>
        <p:txBody>
          <a:bodyPr tIns="91440" bIns="91440"/>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04942306"/>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2-up (outline)">
    <p:spTree>
      <p:nvGrpSpPr>
        <p:cNvPr id="1" name=""/>
        <p:cNvGrpSpPr/>
        <p:nvPr/>
      </p:nvGrpSpPr>
      <p:grpSpPr>
        <a:xfrm>
          <a:off x="0" y="0"/>
          <a:ext cx="0" cy="0"/>
          <a:chOff x="0" y="0"/>
          <a:chExt cx="0" cy="0"/>
        </a:xfrm>
      </p:grpSpPr>
      <p:sp>
        <p:nvSpPr>
          <p:cNvPr id="3" name="Text Placeholder 2"/>
          <p:cNvSpPr>
            <a:spLocks noGrp="1"/>
          </p:cNvSpPr>
          <p:nvPr>
            <p:ph type="body" idx="1"/>
          </p:nvPr>
        </p:nvSpPr>
        <p:spPr bwMode="ltGray">
          <a:xfrm>
            <a:off x="457200" y="1219200"/>
            <a:ext cx="4498848" cy="725488"/>
          </a:xfrm>
          <a:solidFill>
            <a:schemeClr val="accent2"/>
          </a:solidFill>
          <a:ln w="12700">
            <a:solidFill>
              <a:schemeClr val="accent2"/>
            </a:solidFill>
          </a:ln>
        </p:spPr>
        <p:txBody>
          <a:bodyPr vert="horz" wrap="square" lIns="101854" tIns="54864" rIns="101854" bIns="50927" numCol="1" anchor="ctr" anchorCtr="0" compatLnSpc="1">
            <a:prstTxWarp prst="textNoShape">
              <a:avLst/>
            </a:prstTxWarp>
            <a:normAutofit/>
          </a:bodyPr>
          <a:lstStyle>
            <a:lvl1pPr marL="171450" indent="-171450" algn="ctr">
              <a:buNone/>
              <a:defRPr lang="en-US" b="1" smtClean="0">
                <a:solidFill>
                  <a:schemeClr val="bg1"/>
                </a:solidFill>
              </a:defRPr>
            </a:lvl1pPr>
          </a:lstStyle>
          <a:p>
            <a:pPr marL="0" lvl="0" indent="0" algn="ctr"/>
            <a:r>
              <a:rPr lang="en-US" dirty="0"/>
              <a:t>Click to edit Master text styles</a:t>
            </a:r>
          </a:p>
        </p:txBody>
      </p:sp>
      <p:sp>
        <p:nvSpPr>
          <p:cNvPr id="5" name="Text Placeholder 4"/>
          <p:cNvSpPr>
            <a:spLocks noGrp="1"/>
          </p:cNvSpPr>
          <p:nvPr>
            <p:ph type="body" sz="quarter" idx="3"/>
          </p:nvPr>
        </p:nvSpPr>
        <p:spPr bwMode="ltGray">
          <a:xfrm>
            <a:off x="5105400" y="1219200"/>
            <a:ext cx="4498848" cy="725488"/>
          </a:xfrm>
          <a:solidFill>
            <a:schemeClr val="tx2"/>
          </a:solidFill>
          <a:ln w="12700">
            <a:solidFill>
              <a:srgbClr val="5C5E66"/>
            </a:solidFill>
          </a:ln>
        </p:spPr>
        <p:txBody>
          <a:bodyPr vert="horz" wrap="square" lIns="101854" tIns="54864" rIns="101854" bIns="50927" numCol="1" anchor="ctr" anchorCtr="0" compatLnSpc="1">
            <a:prstTxWarp prst="textNoShape">
              <a:avLst/>
            </a:prstTxWarp>
            <a:normAutofit/>
          </a:bodyPr>
          <a:lstStyle>
            <a:lvl1pPr marL="171450" indent="-171450" algn="ctr">
              <a:buNone/>
              <a:defRPr lang="en-US" b="1" smtClean="0">
                <a:solidFill>
                  <a:schemeClr val="bg1"/>
                </a:solidFill>
              </a:defRPr>
            </a:lvl1pPr>
          </a:lstStyle>
          <a:p>
            <a:pPr marL="0" lvl="0" indent="0" algn="ctr"/>
            <a:r>
              <a:rPr lang="en-US" dirty="0"/>
              <a:t>Click to edit Master text styles</a:t>
            </a:r>
          </a:p>
        </p:txBody>
      </p:sp>
      <p:sp>
        <p:nvSpPr>
          <p:cNvPr id="7" name="Footer Placeholder 6"/>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10" name="Content Placeholder 9"/>
          <p:cNvSpPr>
            <a:spLocks noGrp="1"/>
          </p:cNvSpPr>
          <p:nvPr>
            <p:ph sz="quarter" idx="11"/>
          </p:nvPr>
        </p:nvSpPr>
        <p:spPr>
          <a:xfrm>
            <a:off x="460248" y="1944688"/>
            <a:ext cx="4495800" cy="4913312"/>
          </a:xfrm>
          <a:noFill/>
          <a:ln w="12700">
            <a:solidFill>
              <a:schemeClr val="accent2"/>
            </a:solidFill>
          </a:ln>
        </p:spPr>
        <p:txBody>
          <a:bodyPr tIns="91440" bIns="91440"/>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5105400" y="1944688"/>
            <a:ext cx="4495800" cy="4913312"/>
          </a:xfrm>
          <a:noFill/>
          <a:ln w="12700">
            <a:solidFill>
              <a:schemeClr val="tx2"/>
            </a:solidFill>
          </a:ln>
        </p:spPr>
        <p:txBody>
          <a:bodyPr tIns="91440" bIns="91440"/>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6978856"/>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en-US" altLang="en-US" dirty="0"/>
              <a:t>Medicaid Expansion Council Meeting | Kansas Expansion</a:t>
            </a:r>
          </a:p>
        </p:txBody>
      </p:sp>
    </p:spTree>
    <p:extLst>
      <p:ext uri="{BB962C8B-B14F-4D97-AF65-F5344CB8AC3E}">
        <p14:creationId xmlns:p14="http://schemas.microsoft.com/office/powerpoint/2010/main" val="3310928064"/>
      </p:ext>
    </p:extLst>
  </p:cSld>
  <p:clrMapOvr>
    <a:masterClrMapping/>
  </p:clrMapOvr>
  <p:transition spd="slow">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1-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2743200" y="2438399"/>
            <a:ext cx="2286000" cy="2286000"/>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Medicaid Expansion Council Meeting | Kansas Expansion</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5029200" y="2438400"/>
            <a:ext cx="2667000" cy="2286000"/>
          </a:xfrm>
        </p:spPr>
        <p:txBody>
          <a:bodyPr lIns="201168" tIns="137160" rIns="45720" bIns="137160" anchor="b" anchorCtr="0"/>
          <a:lstStyle>
            <a:lvl1pPr marL="0" indent="0">
              <a:spcAft>
                <a:spcPts val="0"/>
              </a:spcAft>
              <a:buNone/>
              <a:defRPr sz="2200" b="1" baseline="0">
                <a:solidFill>
                  <a:schemeClr val="accent1"/>
                </a:solidFill>
                <a:latin typeface="+mj-lt"/>
              </a:defRPr>
            </a:lvl1pPr>
            <a:lvl2pPr marL="0" indent="0">
              <a:spcAft>
                <a:spcPts val="1200"/>
              </a:spcAft>
              <a:buNone/>
              <a:defRPr sz="1800" b="1" baseline="0">
                <a:solidFill>
                  <a:schemeClr val="accent2"/>
                </a:solidFill>
              </a:defRPr>
            </a:lvl2pPr>
            <a:lvl3pPr marL="0" indent="0">
              <a:spcAft>
                <a:spcPts val="600"/>
              </a:spcAft>
              <a:buNone/>
              <a:defRPr sz="1800"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338093059"/>
      </p:ext>
    </p:extLst>
  </p:cSld>
  <p:clrMapOvr>
    <a:masterClrMapping/>
  </p:clrMapOvr>
  <p:transition spd="slow">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hoto 2-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1905000" y="1828800"/>
            <a:ext cx="2286000" cy="2286000"/>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Medicaid Expansion Council Meeting | Kansas Expansion</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1905000" y="4114800"/>
            <a:ext cx="2895600" cy="2486025"/>
          </a:xfrm>
        </p:spPr>
        <p:txBody>
          <a:bodyPr lIns="45720" tIns="182880" rIns="45720" bIns="45720" anchor="t" anchorCtr="0"/>
          <a:lstStyle>
            <a:lvl1pPr marL="0" indent="0">
              <a:spcAft>
                <a:spcPts val="0"/>
              </a:spcAft>
              <a:buNone/>
              <a:defRPr sz="2200" b="1" baseline="0">
                <a:solidFill>
                  <a:schemeClr val="accent1"/>
                </a:solidFill>
                <a:latin typeface="+mj-lt"/>
              </a:defRPr>
            </a:lvl1pPr>
            <a:lvl2pPr marL="0" indent="0">
              <a:spcAft>
                <a:spcPts val="1200"/>
              </a:spcAft>
              <a:buNone/>
              <a:defRPr sz="1800" b="1" baseline="0">
                <a:solidFill>
                  <a:schemeClr val="accent2"/>
                </a:solidFill>
              </a:defRPr>
            </a:lvl2pPr>
            <a:lvl3pPr marL="0" indent="0">
              <a:spcAft>
                <a:spcPts val="600"/>
              </a:spcAft>
              <a:buNone/>
              <a:defRPr sz="1800" baseline="0"/>
            </a:lvl3pPr>
          </a:lstStyle>
          <a:p>
            <a:pPr lvl="0"/>
            <a:r>
              <a:rPr lang="en-US" dirty="0"/>
              <a:t>Click to edit Master text styles</a:t>
            </a:r>
          </a:p>
          <a:p>
            <a:pPr lvl="1"/>
            <a:r>
              <a:rPr lang="en-US" dirty="0"/>
              <a:t>Second level</a:t>
            </a:r>
          </a:p>
          <a:p>
            <a:pPr lvl="2"/>
            <a:r>
              <a:rPr lang="en-US" dirty="0"/>
              <a:t>Third level</a:t>
            </a:r>
          </a:p>
        </p:txBody>
      </p:sp>
      <p:sp>
        <p:nvSpPr>
          <p:cNvPr id="8" name="Picture Placeholder 21"/>
          <p:cNvSpPr>
            <a:spLocks noGrp="1"/>
          </p:cNvSpPr>
          <p:nvPr>
            <p:ph type="pic" sz="quarter" idx="22"/>
          </p:nvPr>
        </p:nvSpPr>
        <p:spPr>
          <a:xfrm>
            <a:off x="5867400" y="1828800"/>
            <a:ext cx="2286000" cy="2286000"/>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5867400" y="4114800"/>
            <a:ext cx="2895600" cy="2486025"/>
          </a:xfrm>
        </p:spPr>
        <p:txBody>
          <a:bodyPr lIns="45720" tIns="182880" rIns="45720" bIns="45720" anchor="t" anchorCtr="0"/>
          <a:lstStyle>
            <a:lvl1pPr marL="0" indent="0">
              <a:spcAft>
                <a:spcPts val="0"/>
              </a:spcAft>
              <a:buNone/>
              <a:defRPr sz="2200" b="1" baseline="0">
                <a:solidFill>
                  <a:schemeClr val="accent1"/>
                </a:solidFill>
                <a:latin typeface="+mj-lt"/>
              </a:defRPr>
            </a:lvl1pPr>
            <a:lvl2pPr marL="0" indent="0">
              <a:spcAft>
                <a:spcPts val="1200"/>
              </a:spcAft>
              <a:buNone/>
              <a:defRPr sz="1800" b="1" baseline="0">
                <a:solidFill>
                  <a:schemeClr val="accent2"/>
                </a:solidFill>
              </a:defRPr>
            </a:lvl2pPr>
            <a:lvl3pPr marL="0" indent="0">
              <a:spcAft>
                <a:spcPts val="600"/>
              </a:spcAft>
              <a:buNone/>
              <a:defRPr sz="1800"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22109210"/>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3-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457200" y="1828800"/>
            <a:ext cx="2286000" cy="2286000"/>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Medicaid Expansion Council Meeting | Kansas Expansion</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57200" y="4114800"/>
            <a:ext cx="2895600" cy="2486025"/>
          </a:xfrm>
        </p:spPr>
        <p:txBody>
          <a:bodyPr lIns="45720" tIns="182880" rIns="45720" bIns="45720" anchor="t" anchorCtr="0"/>
          <a:lstStyle>
            <a:lvl1pPr marL="0" indent="0">
              <a:spcAft>
                <a:spcPts val="0"/>
              </a:spcAft>
              <a:buNone/>
              <a:defRPr sz="2200" b="1" baseline="0">
                <a:solidFill>
                  <a:schemeClr val="accent1"/>
                </a:solidFill>
                <a:latin typeface="+mj-lt"/>
              </a:defRPr>
            </a:lvl1pPr>
            <a:lvl2pPr marL="0" indent="0">
              <a:spcAft>
                <a:spcPts val="1200"/>
              </a:spcAft>
              <a:buNone/>
              <a:defRPr sz="1800" b="1" baseline="0">
                <a:solidFill>
                  <a:schemeClr val="accent2"/>
                </a:solidFill>
              </a:defRPr>
            </a:lvl2pPr>
            <a:lvl3pPr marL="0" indent="0">
              <a:spcAft>
                <a:spcPts val="600"/>
              </a:spcAft>
              <a:buNone/>
              <a:defRPr sz="1800" baseline="0"/>
            </a:lvl3pPr>
          </a:lstStyle>
          <a:p>
            <a:pPr lvl="0"/>
            <a:r>
              <a:rPr lang="en-US" dirty="0"/>
              <a:t>Click to edit Master text styles</a:t>
            </a:r>
          </a:p>
          <a:p>
            <a:pPr lvl="1"/>
            <a:r>
              <a:rPr lang="en-US" dirty="0"/>
              <a:t>Second level</a:t>
            </a:r>
          </a:p>
          <a:p>
            <a:pPr lvl="2"/>
            <a:r>
              <a:rPr lang="en-US" dirty="0"/>
              <a:t>Third level</a:t>
            </a:r>
          </a:p>
        </p:txBody>
      </p:sp>
      <p:sp>
        <p:nvSpPr>
          <p:cNvPr id="8" name="Picture Placeholder 21"/>
          <p:cNvSpPr>
            <a:spLocks noGrp="1"/>
          </p:cNvSpPr>
          <p:nvPr>
            <p:ph type="pic" sz="quarter" idx="22"/>
          </p:nvPr>
        </p:nvSpPr>
        <p:spPr>
          <a:xfrm>
            <a:off x="3580171" y="1828800"/>
            <a:ext cx="2286000" cy="2286000"/>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3580171" y="4114800"/>
            <a:ext cx="2895600" cy="2486025"/>
          </a:xfrm>
        </p:spPr>
        <p:txBody>
          <a:bodyPr lIns="45720" tIns="182880" rIns="45720" bIns="45720" anchor="t" anchorCtr="0"/>
          <a:lstStyle>
            <a:lvl1pPr marL="0" indent="0">
              <a:spcAft>
                <a:spcPts val="0"/>
              </a:spcAft>
              <a:buNone/>
              <a:defRPr sz="2200" b="1" baseline="0">
                <a:solidFill>
                  <a:schemeClr val="accent1"/>
                </a:solidFill>
                <a:latin typeface="+mj-lt"/>
              </a:defRPr>
            </a:lvl1pPr>
            <a:lvl2pPr marL="0" indent="0">
              <a:spcAft>
                <a:spcPts val="1200"/>
              </a:spcAft>
              <a:buNone/>
              <a:defRPr sz="1800" b="1" baseline="0">
                <a:solidFill>
                  <a:schemeClr val="accent2"/>
                </a:solidFill>
              </a:defRPr>
            </a:lvl2pPr>
            <a:lvl3pPr marL="0" indent="0">
              <a:spcAft>
                <a:spcPts val="600"/>
              </a:spcAft>
              <a:buNone/>
              <a:defRPr sz="1800" baseline="0"/>
            </a:lvl3pPr>
          </a:lstStyle>
          <a:p>
            <a:pPr lvl="0"/>
            <a:r>
              <a:rPr lang="en-US" dirty="0"/>
              <a:t>Click to edit Master text styles</a:t>
            </a:r>
          </a:p>
          <a:p>
            <a:pPr lvl="1"/>
            <a:r>
              <a:rPr lang="en-US" dirty="0"/>
              <a:t>Second level</a:t>
            </a:r>
          </a:p>
          <a:p>
            <a:pPr lvl="2"/>
            <a:r>
              <a:rPr lang="en-US" dirty="0"/>
              <a:t>Third level</a:t>
            </a:r>
          </a:p>
        </p:txBody>
      </p:sp>
      <p:sp>
        <p:nvSpPr>
          <p:cNvPr id="10" name="Picture Placeholder 21"/>
          <p:cNvSpPr>
            <a:spLocks noGrp="1"/>
          </p:cNvSpPr>
          <p:nvPr>
            <p:ph type="pic" sz="quarter" idx="24"/>
          </p:nvPr>
        </p:nvSpPr>
        <p:spPr>
          <a:xfrm>
            <a:off x="6703142" y="1828800"/>
            <a:ext cx="2286000" cy="2286000"/>
          </a:xfrm>
        </p:spPr>
        <p:txBody>
          <a:bodyPr/>
          <a:lstStyle>
            <a:lvl1pPr marL="0" indent="0">
              <a:buNone/>
              <a:defRPr/>
            </a:lvl1pPr>
          </a:lstStyle>
          <a:p>
            <a:endParaRPr lang="en-US" dirty="0"/>
          </a:p>
        </p:txBody>
      </p:sp>
      <p:sp>
        <p:nvSpPr>
          <p:cNvPr id="11" name="Content Placeholder 18"/>
          <p:cNvSpPr>
            <a:spLocks noGrp="1"/>
          </p:cNvSpPr>
          <p:nvPr>
            <p:ph sz="quarter" idx="25"/>
          </p:nvPr>
        </p:nvSpPr>
        <p:spPr>
          <a:xfrm>
            <a:off x="6703142" y="4114800"/>
            <a:ext cx="2895600" cy="2486025"/>
          </a:xfrm>
        </p:spPr>
        <p:txBody>
          <a:bodyPr lIns="45720" tIns="182880" rIns="45720" bIns="45720" anchor="t" anchorCtr="0"/>
          <a:lstStyle>
            <a:lvl1pPr marL="0" indent="0">
              <a:spcAft>
                <a:spcPts val="0"/>
              </a:spcAft>
              <a:buNone/>
              <a:defRPr sz="2200" b="1" baseline="0">
                <a:solidFill>
                  <a:schemeClr val="accent1"/>
                </a:solidFill>
                <a:latin typeface="+mj-lt"/>
              </a:defRPr>
            </a:lvl1pPr>
            <a:lvl2pPr marL="0" indent="0">
              <a:spcAft>
                <a:spcPts val="1200"/>
              </a:spcAft>
              <a:buNone/>
              <a:defRPr sz="1800" b="1" baseline="0">
                <a:solidFill>
                  <a:schemeClr val="accent2"/>
                </a:solidFill>
              </a:defRPr>
            </a:lvl2pPr>
            <a:lvl3pPr marL="0" indent="0">
              <a:spcAft>
                <a:spcPts val="600"/>
              </a:spcAft>
              <a:buNone/>
              <a:defRPr sz="1800"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407340804"/>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4-Author">
    <p:spTree>
      <p:nvGrpSpPr>
        <p:cNvPr id="1" name=""/>
        <p:cNvGrpSpPr/>
        <p:nvPr/>
      </p:nvGrpSpPr>
      <p:grpSpPr>
        <a:xfrm>
          <a:off x="0" y="0"/>
          <a:ext cx="0" cy="0"/>
          <a:chOff x="0" y="0"/>
          <a:chExt cx="0" cy="0"/>
        </a:xfrm>
      </p:grpSpPr>
      <p:sp>
        <p:nvSpPr>
          <p:cNvPr id="22" name="Picture Placeholder 21"/>
          <p:cNvSpPr>
            <a:spLocks noGrp="1"/>
          </p:cNvSpPr>
          <p:nvPr>
            <p:ph type="pic" sz="quarter" idx="14"/>
          </p:nvPr>
        </p:nvSpPr>
        <p:spPr>
          <a:xfrm>
            <a:off x="457200" y="2057400"/>
            <a:ext cx="1828800" cy="1828800"/>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Medicaid Expansion Council Meeting | Kansas Expansion</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457200" y="3886200"/>
            <a:ext cx="2094271" cy="2486025"/>
          </a:xfrm>
        </p:spPr>
        <p:txBody>
          <a:bodyPr lIns="45720" tIns="182880" rIns="45720" bIns="45720" anchor="t" anchorCtr="0"/>
          <a:lstStyle>
            <a:lvl1pPr marL="0" indent="0">
              <a:spcAft>
                <a:spcPts val="0"/>
              </a:spcAft>
              <a:buNone/>
              <a:defRPr sz="2000" b="1" baseline="0">
                <a:solidFill>
                  <a:schemeClr val="accent1"/>
                </a:solidFill>
                <a:latin typeface="+mj-lt"/>
              </a:defRPr>
            </a:lvl1pPr>
            <a:lvl2pPr marL="0" indent="0">
              <a:spcAft>
                <a:spcPts val="1200"/>
              </a:spcAft>
              <a:buNone/>
              <a:defRPr sz="1600" b="1" baseline="0">
                <a:solidFill>
                  <a:schemeClr val="accent2"/>
                </a:solidFill>
              </a:defRPr>
            </a:lvl2pPr>
            <a:lvl3pPr marL="0" indent="0">
              <a:spcAft>
                <a:spcPts val="600"/>
              </a:spcAft>
              <a:buNone/>
              <a:defRPr sz="1600" baseline="0"/>
            </a:lvl3pPr>
          </a:lstStyle>
          <a:p>
            <a:pPr lvl="0"/>
            <a:r>
              <a:rPr lang="en-US" dirty="0"/>
              <a:t>Click to edit Master text styles</a:t>
            </a:r>
          </a:p>
          <a:p>
            <a:pPr lvl="1"/>
            <a:r>
              <a:rPr lang="en-US" dirty="0"/>
              <a:t>Second level</a:t>
            </a:r>
          </a:p>
          <a:p>
            <a:pPr lvl="2"/>
            <a:r>
              <a:rPr lang="en-US" dirty="0"/>
              <a:t>Third level</a:t>
            </a:r>
          </a:p>
        </p:txBody>
      </p:sp>
      <p:sp>
        <p:nvSpPr>
          <p:cNvPr id="8" name="Picture Placeholder 21"/>
          <p:cNvSpPr>
            <a:spLocks noGrp="1"/>
          </p:cNvSpPr>
          <p:nvPr>
            <p:ph type="pic" sz="quarter" idx="22"/>
          </p:nvPr>
        </p:nvSpPr>
        <p:spPr>
          <a:xfrm>
            <a:off x="2807110" y="2057400"/>
            <a:ext cx="1828800" cy="1828800"/>
          </a:xfrm>
        </p:spPr>
        <p:txBody>
          <a:bodyPr/>
          <a:lstStyle>
            <a:lvl1pPr marL="0" indent="0">
              <a:buNone/>
              <a:defRPr/>
            </a:lvl1pPr>
          </a:lstStyle>
          <a:p>
            <a:endParaRPr lang="en-US" dirty="0"/>
          </a:p>
        </p:txBody>
      </p:sp>
      <p:sp>
        <p:nvSpPr>
          <p:cNvPr id="9" name="Content Placeholder 18"/>
          <p:cNvSpPr>
            <a:spLocks noGrp="1"/>
          </p:cNvSpPr>
          <p:nvPr>
            <p:ph sz="quarter" idx="23"/>
          </p:nvPr>
        </p:nvSpPr>
        <p:spPr>
          <a:xfrm>
            <a:off x="2807110" y="3886200"/>
            <a:ext cx="2094271" cy="2486025"/>
          </a:xfrm>
        </p:spPr>
        <p:txBody>
          <a:bodyPr lIns="45720" tIns="182880" rIns="45720" bIns="45720" anchor="t" anchorCtr="0"/>
          <a:lstStyle>
            <a:lvl1pPr marL="0" indent="0">
              <a:spcAft>
                <a:spcPts val="0"/>
              </a:spcAft>
              <a:buNone/>
              <a:defRPr sz="2000" b="1" baseline="0">
                <a:solidFill>
                  <a:schemeClr val="accent1"/>
                </a:solidFill>
                <a:latin typeface="+mj-lt"/>
              </a:defRPr>
            </a:lvl1pPr>
            <a:lvl2pPr marL="0" indent="0">
              <a:spcAft>
                <a:spcPts val="1200"/>
              </a:spcAft>
              <a:buNone/>
              <a:defRPr sz="1600" b="1" baseline="0">
                <a:solidFill>
                  <a:schemeClr val="accent2"/>
                </a:solidFill>
              </a:defRPr>
            </a:lvl2pPr>
            <a:lvl3pPr marL="0" indent="0">
              <a:spcAft>
                <a:spcPts val="600"/>
              </a:spcAft>
              <a:buNone/>
              <a:defRPr sz="1600" baseline="0"/>
            </a:lvl3pPr>
          </a:lstStyle>
          <a:p>
            <a:pPr lvl="0"/>
            <a:r>
              <a:rPr lang="en-US" dirty="0"/>
              <a:t>Click to edit Master text styles</a:t>
            </a:r>
          </a:p>
          <a:p>
            <a:pPr lvl="1"/>
            <a:r>
              <a:rPr lang="en-US" dirty="0"/>
              <a:t>Second level</a:t>
            </a:r>
          </a:p>
          <a:p>
            <a:pPr lvl="2"/>
            <a:r>
              <a:rPr lang="en-US" dirty="0"/>
              <a:t>Third level</a:t>
            </a:r>
          </a:p>
        </p:txBody>
      </p:sp>
      <p:sp>
        <p:nvSpPr>
          <p:cNvPr id="10" name="Picture Placeholder 21"/>
          <p:cNvSpPr>
            <a:spLocks noGrp="1"/>
          </p:cNvSpPr>
          <p:nvPr>
            <p:ph type="pic" sz="quarter" idx="24"/>
          </p:nvPr>
        </p:nvSpPr>
        <p:spPr>
          <a:xfrm>
            <a:off x="5157020" y="2057400"/>
            <a:ext cx="1828800" cy="1828800"/>
          </a:xfrm>
        </p:spPr>
        <p:txBody>
          <a:bodyPr/>
          <a:lstStyle>
            <a:lvl1pPr marL="0" indent="0">
              <a:buNone/>
              <a:defRPr/>
            </a:lvl1pPr>
          </a:lstStyle>
          <a:p>
            <a:endParaRPr lang="en-US" dirty="0"/>
          </a:p>
        </p:txBody>
      </p:sp>
      <p:sp>
        <p:nvSpPr>
          <p:cNvPr id="11" name="Content Placeholder 18"/>
          <p:cNvSpPr>
            <a:spLocks noGrp="1"/>
          </p:cNvSpPr>
          <p:nvPr>
            <p:ph sz="quarter" idx="25"/>
          </p:nvPr>
        </p:nvSpPr>
        <p:spPr>
          <a:xfrm>
            <a:off x="5157020" y="3886200"/>
            <a:ext cx="2094271" cy="2486025"/>
          </a:xfrm>
        </p:spPr>
        <p:txBody>
          <a:bodyPr lIns="45720" tIns="182880" rIns="45720" bIns="45720" anchor="t" anchorCtr="0"/>
          <a:lstStyle>
            <a:lvl1pPr marL="0" indent="0">
              <a:spcAft>
                <a:spcPts val="0"/>
              </a:spcAft>
              <a:buNone/>
              <a:defRPr sz="2000" b="1" baseline="0">
                <a:solidFill>
                  <a:schemeClr val="accent1"/>
                </a:solidFill>
                <a:latin typeface="+mj-lt"/>
              </a:defRPr>
            </a:lvl1pPr>
            <a:lvl2pPr marL="0" indent="0">
              <a:spcAft>
                <a:spcPts val="1200"/>
              </a:spcAft>
              <a:buNone/>
              <a:defRPr sz="1600" b="1" baseline="0">
                <a:solidFill>
                  <a:schemeClr val="accent2"/>
                </a:solidFill>
              </a:defRPr>
            </a:lvl2pPr>
            <a:lvl3pPr marL="0" indent="0">
              <a:spcAft>
                <a:spcPts val="600"/>
              </a:spcAft>
              <a:buNone/>
              <a:defRPr sz="1600" baseline="0"/>
            </a:lvl3pPr>
          </a:lstStyle>
          <a:p>
            <a:pPr lvl="0"/>
            <a:r>
              <a:rPr lang="en-US" dirty="0"/>
              <a:t>Click to edit Master text styles</a:t>
            </a:r>
          </a:p>
          <a:p>
            <a:pPr lvl="1"/>
            <a:r>
              <a:rPr lang="en-US" dirty="0"/>
              <a:t>Second level</a:t>
            </a:r>
          </a:p>
          <a:p>
            <a:pPr lvl="2"/>
            <a:r>
              <a:rPr lang="en-US" dirty="0"/>
              <a:t>Third level</a:t>
            </a:r>
          </a:p>
        </p:txBody>
      </p:sp>
      <p:sp>
        <p:nvSpPr>
          <p:cNvPr id="12" name="Picture Placeholder 21"/>
          <p:cNvSpPr>
            <a:spLocks noGrp="1"/>
          </p:cNvSpPr>
          <p:nvPr>
            <p:ph type="pic" sz="quarter" idx="26"/>
          </p:nvPr>
        </p:nvSpPr>
        <p:spPr>
          <a:xfrm>
            <a:off x="7506929" y="2057400"/>
            <a:ext cx="1828800" cy="1828800"/>
          </a:xfrm>
        </p:spPr>
        <p:txBody>
          <a:bodyPr/>
          <a:lstStyle>
            <a:lvl1pPr marL="0" indent="0">
              <a:buNone/>
              <a:defRPr/>
            </a:lvl1pPr>
          </a:lstStyle>
          <a:p>
            <a:endParaRPr lang="en-US" dirty="0"/>
          </a:p>
        </p:txBody>
      </p:sp>
      <p:sp>
        <p:nvSpPr>
          <p:cNvPr id="14" name="Content Placeholder 18"/>
          <p:cNvSpPr>
            <a:spLocks noGrp="1"/>
          </p:cNvSpPr>
          <p:nvPr>
            <p:ph sz="quarter" idx="27"/>
          </p:nvPr>
        </p:nvSpPr>
        <p:spPr>
          <a:xfrm>
            <a:off x="7506929" y="3886200"/>
            <a:ext cx="2094271" cy="2486025"/>
          </a:xfrm>
        </p:spPr>
        <p:txBody>
          <a:bodyPr lIns="45720" tIns="182880" rIns="45720" bIns="45720" anchor="t" anchorCtr="0"/>
          <a:lstStyle>
            <a:lvl1pPr marL="0" indent="0">
              <a:spcAft>
                <a:spcPts val="0"/>
              </a:spcAft>
              <a:buNone/>
              <a:defRPr sz="2000" b="1" baseline="0">
                <a:solidFill>
                  <a:schemeClr val="accent1"/>
                </a:solidFill>
                <a:latin typeface="+mj-lt"/>
              </a:defRPr>
            </a:lvl1pPr>
            <a:lvl2pPr marL="0" indent="0">
              <a:spcAft>
                <a:spcPts val="1200"/>
              </a:spcAft>
              <a:buNone/>
              <a:defRPr sz="1600" b="1" baseline="0">
                <a:solidFill>
                  <a:schemeClr val="accent2"/>
                </a:solidFill>
              </a:defRPr>
            </a:lvl2pPr>
            <a:lvl3pPr marL="0" indent="0">
              <a:spcAft>
                <a:spcPts val="600"/>
              </a:spcAft>
              <a:buNone/>
              <a:defRPr sz="1600"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87401587"/>
      </p:ext>
    </p:extLst>
  </p:cSld>
  <p:clrMapOvr>
    <a:masterClrMapping/>
  </p:clrMapOvr>
  <p:transition spd="slow">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o 1-Author">
    <p:spTree>
      <p:nvGrpSpPr>
        <p:cNvPr id="1" name=""/>
        <p:cNvGrpSpPr/>
        <p:nvPr/>
      </p:nvGrpSpPr>
      <p:grpSpPr>
        <a:xfrm>
          <a:off x="0" y="0"/>
          <a:ext cx="0" cy="0"/>
          <a:chOff x="0" y="0"/>
          <a:chExt cx="0" cy="0"/>
        </a:xfrm>
      </p:grpSpPr>
      <p:grpSp>
        <p:nvGrpSpPr>
          <p:cNvPr id="20" name="Group 19"/>
          <p:cNvGrpSpPr/>
          <p:nvPr userDrawn="1"/>
        </p:nvGrpSpPr>
        <p:grpSpPr>
          <a:xfrm>
            <a:off x="5229225" y="1447800"/>
            <a:ext cx="4371975" cy="1447800"/>
            <a:chOff x="5229225" y="1676400"/>
            <a:chExt cx="4371975" cy="1447800"/>
          </a:xfrm>
        </p:grpSpPr>
        <p:sp>
          <p:nvSpPr>
            <p:cNvPr id="6" name="Rectangle 24"/>
            <p:cNvSpPr>
              <a:spLocks noChangeArrowheads="1"/>
            </p:cNvSpPr>
            <p:nvPr userDrawn="1"/>
          </p:nvSpPr>
          <p:spPr bwMode="auto">
            <a:xfrm>
              <a:off x="5410200" y="1676400"/>
              <a:ext cx="4191000" cy="1447800"/>
            </a:xfrm>
            <a:prstGeom prst="rect">
              <a:avLst/>
            </a:prstGeom>
            <a:solidFill>
              <a:schemeClr val="accent2"/>
            </a:solidFill>
            <a:ln>
              <a:noFill/>
            </a:ln>
            <a:extLst>
              <a:ext uri="{91240B29-F687-4F45-9708-019B960494DF}">
                <a14:hiddenLine xmlns:a14="http://schemas.microsoft.com/office/drawing/2010/main" w="19050">
                  <a:solidFill>
                    <a:srgbClr val="000000"/>
                  </a:solidFill>
                  <a:round/>
                  <a:headEnd/>
                  <a:tailEnd/>
                </a14:hiddenLine>
              </a:ext>
            </a:extLst>
          </p:spPr>
          <p:txBody>
            <a:bodyPr lIns="274256" tIns="228547" rIns="91418" bIns="91418"/>
            <a:lstStyle>
              <a:lvl1pPr marL="111125" indent="-111125" defTabSz="1017588" eaLnBrk="0" hangingPunct="0">
                <a:lnSpc>
                  <a:spcPts val="2200"/>
                </a:lnSpc>
                <a:spcAft>
                  <a:spcPct val="50000"/>
                </a:spcAft>
                <a:buClr>
                  <a:schemeClr val="tx2"/>
                </a:buClr>
                <a:buFont typeface="Wingdings" pitchFamily="2" charset="2"/>
                <a:defRPr sz="2000" b="1">
                  <a:solidFill>
                    <a:srgbClr val="00A5E0"/>
                  </a:solidFill>
                  <a:latin typeface="Arial" charset="0"/>
                  <a:ea typeface="ヒラギノ角ゴ Pro W3" charset="-128"/>
                </a:defRPr>
              </a:lvl1pPr>
              <a:lvl2pPr marL="742950" indent="-285750" defTabSz="1017588" eaLnBrk="0" hangingPunct="0">
                <a:spcAft>
                  <a:spcPct val="50000"/>
                </a:spcAft>
                <a:buClr>
                  <a:srgbClr val="215C6E"/>
                </a:buClr>
                <a:buFont typeface="Arial" charset="0"/>
                <a:buChar char="–"/>
                <a:defRPr sz="1600">
                  <a:solidFill>
                    <a:schemeClr val="tx1"/>
                  </a:solidFill>
                  <a:latin typeface="Arial" charset="0"/>
                  <a:ea typeface="ヒラギノ角ゴ Pro W3" charset="-128"/>
                </a:defRPr>
              </a:lvl2pPr>
              <a:lvl3pPr marL="1143000" indent="-228600" defTabSz="1017588" eaLnBrk="0" hangingPunct="0">
                <a:spcAft>
                  <a:spcPts val="963"/>
                </a:spcAft>
                <a:buClr>
                  <a:schemeClr val="tx2"/>
                </a:buClr>
                <a:buFont typeface="Wingdings" pitchFamily="2" charset="2"/>
                <a:buChar char="§"/>
                <a:defRPr sz="1600">
                  <a:solidFill>
                    <a:schemeClr val="tx1"/>
                  </a:solidFill>
                  <a:latin typeface="Arial" charset="0"/>
                  <a:ea typeface="MS PGothic" pitchFamily="34" charset="-128"/>
                </a:defRPr>
              </a:lvl3pPr>
              <a:lvl4pPr marL="1600200" indent="-228600" defTabSz="1017588" eaLnBrk="0" hangingPunct="0">
                <a:spcAft>
                  <a:spcPct val="50000"/>
                </a:spcAft>
                <a:buClr>
                  <a:srgbClr val="F2B623"/>
                </a:buClr>
                <a:buFont typeface="Wingdings" pitchFamily="2" charset="2"/>
                <a:buChar char="§"/>
                <a:defRPr sz="1600">
                  <a:solidFill>
                    <a:schemeClr val="tx1"/>
                  </a:solidFill>
                  <a:latin typeface="Arial" charset="0"/>
                  <a:ea typeface="MS PGothic" pitchFamily="34" charset="-128"/>
                </a:defRPr>
              </a:lvl4pPr>
              <a:lvl5pPr marL="2057400" indent="-228600" defTabSz="1017588" eaLnBrk="0" hangingPunct="0">
                <a:spcAft>
                  <a:spcPct val="50000"/>
                </a:spcAft>
                <a:buClr>
                  <a:schemeClr val="tx2"/>
                </a:buClr>
                <a:buFont typeface="Arial" charset="0"/>
                <a:buChar char="▪"/>
                <a:defRPr sz="1600">
                  <a:solidFill>
                    <a:schemeClr val="tx1"/>
                  </a:solidFill>
                  <a:latin typeface="Arial" charset="0"/>
                  <a:ea typeface="ヒラギノ角ゴ Pro W3" charset="-128"/>
                </a:defRPr>
              </a:lvl5pPr>
              <a:lvl6pPr marL="25146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6pPr>
              <a:lvl7pPr marL="29718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7pPr>
              <a:lvl8pPr marL="34290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8pPr>
              <a:lvl9pPr marL="38862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9pPr>
            </a:lstStyle>
            <a:p>
              <a:pPr eaLnBrk="1" hangingPunct="1">
                <a:lnSpc>
                  <a:spcPct val="100000"/>
                </a:lnSpc>
                <a:spcBef>
                  <a:spcPts val="0"/>
                </a:spcBef>
                <a:spcAft>
                  <a:spcPts val="0"/>
                </a:spcAft>
                <a:buClr>
                  <a:schemeClr val="bg1"/>
                </a:buClr>
                <a:buFontTx/>
                <a:buNone/>
              </a:pPr>
              <a:r>
                <a:rPr lang="en-US" altLang="en-US" sz="1400" baseline="0" dirty="0">
                  <a:solidFill>
                    <a:schemeClr val="bg1"/>
                  </a:solidFill>
                  <a:latin typeface="+mn-lt"/>
                  <a:ea typeface="MS PGothic" pitchFamily="34" charset="-128"/>
                </a:rPr>
                <a:t>Education</a:t>
              </a:r>
            </a:p>
          </p:txBody>
        </p:sp>
        <p:sp>
          <p:nvSpPr>
            <p:cNvPr id="8" name="AutoShape 9"/>
            <p:cNvSpPr>
              <a:spLocks noChangeArrowheads="1"/>
            </p:cNvSpPr>
            <p:nvPr userDrawn="1"/>
          </p:nvSpPr>
          <p:spPr bwMode="white">
            <a:xfrm rot="13500000">
              <a:off x="5222082" y="1874520"/>
              <a:ext cx="258762" cy="244475"/>
            </a:xfrm>
            <a:prstGeom prst="rtTriangle">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wrap="none" lIns="0" tIns="0" rIns="0" bIns="0" anchor="ctr"/>
            <a:lstStyle>
              <a:lvl1pPr defTabSz="1017588" eaLnBrk="0" hangingPunct="0">
                <a:lnSpc>
                  <a:spcPts val="2200"/>
                </a:lnSpc>
                <a:spcAft>
                  <a:spcPct val="50000"/>
                </a:spcAft>
                <a:buClr>
                  <a:schemeClr val="tx2"/>
                </a:buClr>
                <a:buFont typeface="Wingdings" pitchFamily="2" charset="2"/>
                <a:defRPr sz="2000" b="1">
                  <a:solidFill>
                    <a:srgbClr val="00A5E0"/>
                  </a:solidFill>
                  <a:latin typeface="Arial" charset="0"/>
                  <a:ea typeface="ヒラギノ角ゴ Pro W3" charset="-128"/>
                </a:defRPr>
              </a:lvl1pPr>
              <a:lvl2pPr marL="742950" indent="-285750" defTabSz="1017588" eaLnBrk="0" hangingPunct="0">
                <a:spcAft>
                  <a:spcPct val="50000"/>
                </a:spcAft>
                <a:buClr>
                  <a:srgbClr val="215C6E"/>
                </a:buClr>
                <a:buFont typeface="Arial" charset="0"/>
                <a:buChar char="–"/>
                <a:defRPr sz="1600">
                  <a:solidFill>
                    <a:schemeClr val="tx1"/>
                  </a:solidFill>
                  <a:latin typeface="Arial" charset="0"/>
                  <a:ea typeface="ヒラギノ角ゴ Pro W3" charset="-128"/>
                </a:defRPr>
              </a:lvl2pPr>
              <a:lvl3pPr marL="1143000" indent="-228600" defTabSz="1017588" eaLnBrk="0" hangingPunct="0">
                <a:spcAft>
                  <a:spcPts val="963"/>
                </a:spcAft>
                <a:buClr>
                  <a:schemeClr val="tx2"/>
                </a:buClr>
                <a:buFont typeface="Wingdings" pitchFamily="2" charset="2"/>
                <a:buChar char="§"/>
                <a:defRPr sz="1600">
                  <a:solidFill>
                    <a:schemeClr val="tx1"/>
                  </a:solidFill>
                  <a:latin typeface="Arial" charset="0"/>
                  <a:ea typeface="MS PGothic" pitchFamily="34" charset="-128"/>
                </a:defRPr>
              </a:lvl3pPr>
              <a:lvl4pPr marL="1600200" indent="-228600" defTabSz="1017588" eaLnBrk="0" hangingPunct="0">
                <a:spcAft>
                  <a:spcPct val="50000"/>
                </a:spcAft>
                <a:buClr>
                  <a:srgbClr val="F2B623"/>
                </a:buClr>
                <a:buFont typeface="Wingdings" pitchFamily="2" charset="2"/>
                <a:buChar char="§"/>
                <a:defRPr sz="1600">
                  <a:solidFill>
                    <a:schemeClr val="tx1"/>
                  </a:solidFill>
                  <a:latin typeface="Arial" charset="0"/>
                  <a:ea typeface="MS PGothic" pitchFamily="34" charset="-128"/>
                </a:defRPr>
              </a:lvl4pPr>
              <a:lvl5pPr marL="2057400" indent="-228600" defTabSz="1017588" eaLnBrk="0" hangingPunct="0">
                <a:spcAft>
                  <a:spcPct val="50000"/>
                </a:spcAft>
                <a:buClr>
                  <a:schemeClr val="tx2"/>
                </a:buClr>
                <a:buFont typeface="Arial" charset="0"/>
                <a:buChar char="▪"/>
                <a:defRPr sz="1600">
                  <a:solidFill>
                    <a:schemeClr val="tx1"/>
                  </a:solidFill>
                  <a:latin typeface="Arial" charset="0"/>
                  <a:ea typeface="ヒラギノ角ゴ Pro W3" charset="-128"/>
                </a:defRPr>
              </a:lvl5pPr>
              <a:lvl6pPr marL="25146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6pPr>
              <a:lvl7pPr marL="29718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7pPr>
              <a:lvl8pPr marL="34290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8pPr>
              <a:lvl9pPr marL="3886200" indent="-228600" defTabSz="1017588" eaLnBrk="0" fontAlgn="base" hangingPunct="0">
                <a:spcBef>
                  <a:spcPct val="0"/>
                </a:spcBef>
                <a:spcAft>
                  <a:spcPct val="50000"/>
                </a:spcAft>
                <a:buClr>
                  <a:schemeClr val="tx2"/>
                </a:buClr>
                <a:buFont typeface="Arial" charset="0"/>
                <a:buChar char="▪"/>
                <a:defRPr sz="1600">
                  <a:solidFill>
                    <a:schemeClr val="tx1"/>
                  </a:solidFill>
                  <a:latin typeface="Arial" charset="0"/>
                  <a:ea typeface="ヒラギノ角ゴ Pro W3" charset="-128"/>
                </a:defRPr>
              </a:lvl9pPr>
            </a:lstStyle>
            <a:p>
              <a:pPr>
                <a:lnSpc>
                  <a:spcPct val="80000"/>
                </a:lnSpc>
                <a:spcBef>
                  <a:spcPct val="10000"/>
                </a:spcBef>
                <a:spcAft>
                  <a:spcPct val="10000"/>
                </a:spcAft>
                <a:buClrTx/>
                <a:buFontTx/>
                <a:buNone/>
              </a:pPr>
              <a:endParaRPr lang="en-US" altLang="en-US" sz="1600" b="0" dirty="0">
                <a:solidFill>
                  <a:srgbClr val="000000"/>
                </a:solidFill>
                <a:ea typeface="MS PGothic" pitchFamily="34" charset="-128"/>
              </a:endParaRPr>
            </a:p>
          </p:txBody>
        </p:sp>
      </p:grpSp>
      <p:graphicFrame>
        <p:nvGraphicFramePr>
          <p:cNvPr id="9" name="Group 168"/>
          <p:cNvGraphicFramePr>
            <a:graphicFrameLocks noGrp="1"/>
          </p:cNvGraphicFramePr>
          <p:nvPr userDrawn="1">
            <p:extLst>
              <p:ext uri="{D42A27DB-BD31-4B8C-83A1-F6EECF244321}">
                <p14:modId xmlns:p14="http://schemas.microsoft.com/office/powerpoint/2010/main" val="343788976"/>
              </p:ext>
            </p:extLst>
          </p:nvPr>
        </p:nvGraphicFramePr>
        <p:xfrm>
          <a:off x="457200" y="3200400"/>
          <a:ext cx="9144000" cy="304906"/>
        </p:xfrm>
        <a:graphic>
          <a:graphicData uri="http://schemas.openxmlformats.org/drawingml/2006/table">
            <a:tbl>
              <a:tblPr/>
              <a:tblGrid>
                <a:gridCol w="9144000">
                  <a:extLst>
                    <a:ext uri="{9D8B030D-6E8A-4147-A177-3AD203B41FA5}">
                      <a16:colId xmlns:a16="http://schemas.microsoft.com/office/drawing/2014/main" val="20000"/>
                    </a:ext>
                  </a:extLst>
                </a:gridCol>
              </a:tblGrid>
              <a:tr h="274638">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400" b="1" i="0" u="none" strike="noStrike" cap="none" normalizeH="0" baseline="0" dirty="0">
                          <a:ln>
                            <a:noFill/>
                          </a:ln>
                          <a:solidFill>
                            <a:schemeClr val="bg1"/>
                          </a:solidFill>
                          <a:effectLst/>
                          <a:latin typeface="+mn-lt"/>
                        </a:rPr>
                        <a:t>About</a:t>
                      </a:r>
                    </a:p>
                  </a:txBody>
                  <a:tcPr marT="45773" marB="4577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1" name="Content Placeholder 10"/>
          <p:cNvSpPr>
            <a:spLocks noGrp="1"/>
          </p:cNvSpPr>
          <p:nvPr>
            <p:ph sz="quarter" idx="11"/>
          </p:nvPr>
        </p:nvSpPr>
        <p:spPr>
          <a:xfrm>
            <a:off x="457200" y="3660774"/>
            <a:ext cx="9144000" cy="3197226"/>
          </a:xfrm>
        </p:spPr>
        <p:txBody>
          <a:bodyPr numCol="2" spcCol="274320"/>
          <a:lstStyle>
            <a:lvl1pPr marL="0" indent="0">
              <a:lnSpc>
                <a:spcPct val="100000"/>
              </a:lnSpc>
              <a:spcAft>
                <a:spcPts val="600"/>
              </a:spcAft>
              <a:buNone/>
              <a:defRPr sz="1400"/>
            </a:lvl1pPr>
            <a:lvl2pPr marL="225425" indent="-127000">
              <a:lnSpc>
                <a:spcPct val="100000"/>
              </a:lnSpc>
              <a:spcAft>
                <a:spcPts val="600"/>
              </a:spcAft>
              <a:buClrTx/>
              <a:buFont typeface="Wingdings" panose="05000000000000000000" pitchFamily="2" charset="2"/>
              <a:buChar char="§"/>
              <a:defRPr sz="1400" baseline="0"/>
            </a:lvl2pPr>
          </a:lstStyle>
          <a:p>
            <a:pPr lvl="0"/>
            <a:r>
              <a:rPr lang="en-US" dirty="0"/>
              <a:t>Click to edit Master text styles</a:t>
            </a:r>
          </a:p>
          <a:p>
            <a:pPr lvl="1"/>
            <a:r>
              <a:rPr lang="en-US" dirty="0"/>
              <a:t>Second level</a:t>
            </a:r>
          </a:p>
        </p:txBody>
      </p:sp>
      <p:sp>
        <p:nvSpPr>
          <p:cNvPr id="15" name="Content Placeholder 14"/>
          <p:cNvSpPr>
            <a:spLocks noGrp="1"/>
          </p:cNvSpPr>
          <p:nvPr>
            <p:ph sz="quarter" idx="12"/>
          </p:nvPr>
        </p:nvSpPr>
        <p:spPr bwMode="auto">
          <a:xfrm>
            <a:off x="5410200" y="1946079"/>
            <a:ext cx="4191000" cy="946345"/>
          </a:xfrm>
        </p:spPr>
        <p:txBody>
          <a:bodyPr lIns="274320"/>
          <a:lstStyle>
            <a:lvl1pPr marL="117475" indent="-117475">
              <a:lnSpc>
                <a:spcPct val="100000"/>
              </a:lnSpc>
              <a:spcAft>
                <a:spcPts val="300"/>
              </a:spcAft>
              <a:buClr>
                <a:schemeClr val="bg1"/>
              </a:buClr>
              <a:defRPr sz="1200" b="1" baseline="0">
                <a:solidFill>
                  <a:schemeClr val="bg1"/>
                </a:solidFill>
              </a:defRPr>
            </a:lvl1pPr>
          </a:lstStyle>
          <a:p>
            <a:pPr lvl="0"/>
            <a:r>
              <a:rPr lang="en-US" dirty="0"/>
              <a:t>Click to edit Master text styles</a:t>
            </a:r>
          </a:p>
        </p:txBody>
      </p:sp>
      <p:sp>
        <p:nvSpPr>
          <p:cNvPr id="22" name="Picture Placeholder 21"/>
          <p:cNvSpPr>
            <a:spLocks noGrp="1"/>
          </p:cNvSpPr>
          <p:nvPr>
            <p:ph type="pic" sz="quarter" idx="14"/>
          </p:nvPr>
        </p:nvSpPr>
        <p:spPr>
          <a:xfrm>
            <a:off x="457200" y="1219200"/>
            <a:ext cx="1676400" cy="1676400"/>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Medicaid Expansion Council Meeting | Kansas Expansion</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2133600" y="1222375"/>
            <a:ext cx="2743200" cy="1673225"/>
          </a:xfrm>
        </p:spPr>
        <p:txBody>
          <a:bodyPr lIns="201168" tIns="137160" rIns="45720" bIns="45720"/>
          <a:lstStyle>
            <a:lvl1pPr marL="0" indent="0">
              <a:spcAft>
                <a:spcPts val="0"/>
              </a:spcAft>
              <a:buNone/>
              <a:defRPr sz="2200" b="1" baseline="0">
                <a:solidFill>
                  <a:schemeClr val="accent1"/>
                </a:solidFill>
                <a:latin typeface="+mj-lt"/>
              </a:defRPr>
            </a:lvl1pPr>
            <a:lvl2pPr marL="0" indent="0">
              <a:spcAft>
                <a:spcPts val="600"/>
              </a:spcAft>
              <a:buNone/>
              <a:defRPr sz="1400" b="1" baseline="0">
                <a:solidFill>
                  <a:schemeClr val="accent2"/>
                </a:solidFill>
              </a:defRPr>
            </a:lvl2pPr>
            <a:lvl3pPr marL="0" indent="0">
              <a:spcAft>
                <a:spcPts val="600"/>
              </a:spcAft>
              <a:buNone/>
              <a:defRPr sz="1400"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52985007"/>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8" name="Rectangle 7"/>
          <p:cNvSpPr/>
          <p:nvPr userDrawn="1"/>
        </p:nvSpPr>
        <p:spPr bwMode="auto">
          <a:xfrm>
            <a:off x="457200" y="1656458"/>
            <a:ext cx="1035934" cy="4544792"/>
          </a:xfrm>
          <a:prstGeom prst="rect">
            <a:avLst/>
          </a:prstGeom>
          <a:solidFill>
            <a:schemeClr val="bg2">
              <a:lumMod val="40000"/>
              <a:lumOff val="60000"/>
            </a:schemeClr>
          </a:solidFill>
          <a:ln>
            <a:noFill/>
          </a:ln>
          <a:effectLst/>
        </p:spPr>
        <p:txBody>
          <a:bodyPr lIns="91440" tIns="91440" rIns="91440" bIns="91440" rtlCol="0" anchor="ctr" anchorCtr="0">
            <a:noAutofit/>
          </a:bodyPr>
          <a:lstStyle/>
          <a:p>
            <a:pPr algn="ctr" eaLnBrk="1" hangingPunct="1"/>
            <a:endParaRPr lang="en-US" sz="1600" b="1" dirty="0">
              <a:solidFill>
                <a:srgbClr val="FFFFFF"/>
              </a:solidFill>
              <a:latin typeface="Calibri"/>
            </a:endParaRPr>
          </a:p>
        </p:txBody>
      </p:sp>
      <p:sp>
        <p:nvSpPr>
          <p:cNvPr id="2" name="Title 1"/>
          <p:cNvSpPr>
            <a:spLocks noGrp="1"/>
          </p:cNvSpPr>
          <p:nvPr>
            <p:ph type="title"/>
          </p:nvPr>
        </p:nvSpPr>
        <p:spPr/>
        <p:txBody>
          <a:bodyPr/>
          <a:lstStyle>
            <a:lvl1pPr>
              <a:defRPr b="1" i="0" baseline="0">
                <a:latin typeface="Calibri" pitchFamily="34" charset="0"/>
              </a:defRPr>
            </a:lvl1pPr>
          </a:lstStyle>
          <a:p>
            <a:r>
              <a:rPr lang="en-US" dirty="0"/>
              <a:t>Click to edit Master title style</a:t>
            </a:r>
          </a:p>
        </p:txBody>
      </p:sp>
      <p:sp>
        <p:nvSpPr>
          <p:cNvPr id="15" name="Rectangle 25"/>
          <p:cNvSpPr>
            <a:spLocks noChangeArrowheads="1"/>
          </p:cNvSpPr>
          <p:nvPr userDrawn="1"/>
        </p:nvSpPr>
        <p:spPr bwMode="auto">
          <a:xfrm>
            <a:off x="457200" y="1487671"/>
            <a:ext cx="9143683" cy="72865"/>
          </a:xfrm>
          <a:prstGeom prst="rect">
            <a:avLst/>
          </a:prstGeom>
          <a:solidFill>
            <a:schemeClr val="accent1">
              <a:alpha val="90195"/>
            </a:schemeClr>
          </a:solidFill>
          <a:ln w="9525" algn="ctr">
            <a:solidFill>
              <a:schemeClr val="accent1"/>
            </a:solidFill>
            <a:round/>
            <a:headEnd/>
            <a:tailEnd/>
          </a:ln>
        </p:spPr>
        <p:txBody>
          <a:bodyPr lIns="113263" tIns="56631" rIns="113263" bIns="56631" anchor="ctr"/>
          <a:lstStyle/>
          <a:p>
            <a:pPr algn="ctr" defTabSz="1133311" eaLnBrk="1" hangingPunct="1"/>
            <a:endParaRPr lang="en-US" sz="1200" b="1" dirty="0">
              <a:solidFill>
                <a:srgbClr val="000000"/>
              </a:solidFill>
              <a:latin typeface="Calibri"/>
              <a:ea typeface="ＭＳ Ｐゴシック"/>
            </a:endParaRPr>
          </a:p>
        </p:txBody>
      </p:sp>
      <p:sp>
        <p:nvSpPr>
          <p:cNvPr id="16" name="Rectangle 24"/>
          <p:cNvSpPr>
            <a:spLocks noChangeArrowheads="1"/>
          </p:cNvSpPr>
          <p:nvPr userDrawn="1"/>
        </p:nvSpPr>
        <p:spPr bwMode="auto">
          <a:xfrm>
            <a:off x="457200" y="6294736"/>
            <a:ext cx="9143683" cy="72867"/>
          </a:xfrm>
          <a:prstGeom prst="rect">
            <a:avLst/>
          </a:prstGeom>
          <a:solidFill>
            <a:schemeClr val="accent1">
              <a:alpha val="90195"/>
            </a:schemeClr>
          </a:solidFill>
          <a:ln w="9525" algn="ctr">
            <a:solidFill>
              <a:schemeClr val="accent1"/>
            </a:solidFill>
            <a:round/>
            <a:headEnd/>
            <a:tailEnd/>
          </a:ln>
        </p:spPr>
        <p:txBody>
          <a:bodyPr lIns="113263" tIns="56631" rIns="113263" bIns="56631" anchor="ctr"/>
          <a:lstStyle/>
          <a:p>
            <a:pPr algn="ctr" defTabSz="1133311" eaLnBrk="1" hangingPunct="1"/>
            <a:endParaRPr lang="en-US" sz="1200" b="1" dirty="0">
              <a:solidFill>
                <a:srgbClr val="000000"/>
              </a:solidFill>
              <a:latin typeface="Calibri"/>
              <a:ea typeface="ＭＳ Ｐゴシック"/>
            </a:endParaRPr>
          </a:p>
        </p:txBody>
      </p:sp>
      <p:cxnSp>
        <p:nvCxnSpPr>
          <p:cNvPr id="17" name="Straight Connector 16"/>
          <p:cNvCxnSpPr/>
          <p:nvPr userDrawn="1"/>
        </p:nvCxnSpPr>
        <p:spPr bwMode="auto">
          <a:xfrm>
            <a:off x="457200" y="6219117"/>
            <a:ext cx="9143683" cy="0"/>
          </a:xfrm>
          <a:prstGeom prst="line">
            <a:avLst/>
          </a:prstGeom>
          <a:noFill/>
          <a:ln w="19050" cap="flat" cmpd="sng" algn="ctr">
            <a:solidFill>
              <a:srgbClr val="336699"/>
            </a:solidFill>
            <a:prstDash val="sysDot"/>
            <a:round/>
            <a:headEnd type="none" w="med" len="med"/>
            <a:tailEnd type="none" w="med" len="med"/>
          </a:ln>
          <a:effectLst/>
        </p:spPr>
      </p:cxnSp>
      <p:cxnSp>
        <p:nvCxnSpPr>
          <p:cNvPr id="19" name="Straight Connector 18"/>
          <p:cNvCxnSpPr/>
          <p:nvPr userDrawn="1"/>
        </p:nvCxnSpPr>
        <p:spPr bwMode="auto">
          <a:xfrm>
            <a:off x="457200" y="1630165"/>
            <a:ext cx="9143683" cy="0"/>
          </a:xfrm>
          <a:prstGeom prst="line">
            <a:avLst/>
          </a:prstGeom>
          <a:noFill/>
          <a:ln w="19050" cap="flat" cmpd="sng" algn="ctr">
            <a:solidFill>
              <a:srgbClr val="336699"/>
            </a:solidFill>
            <a:prstDash val="sysDot"/>
            <a:round/>
            <a:headEnd type="none" w="med" len="med"/>
            <a:tailEnd type="none" w="med" len="med"/>
          </a:ln>
          <a:effectLst/>
        </p:spPr>
      </p:cxnSp>
      <p:sp>
        <p:nvSpPr>
          <p:cNvPr id="5" name="Text Placeholder 4"/>
          <p:cNvSpPr>
            <a:spLocks noGrp="1"/>
          </p:cNvSpPr>
          <p:nvPr>
            <p:ph type="body" sz="quarter" idx="10"/>
          </p:nvPr>
        </p:nvSpPr>
        <p:spPr>
          <a:xfrm>
            <a:off x="1143000" y="1656458"/>
            <a:ext cx="8457883" cy="4544792"/>
          </a:xfrm>
        </p:spPr>
        <p:txBody>
          <a:bodyPr anchor="ctr" anchorCtr="0">
            <a:normAutofit/>
          </a:bodyPr>
          <a:lstStyle>
            <a:lvl1pPr marL="347663" indent="-347663">
              <a:spcBef>
                <a:spcPts val="2000"/>
              </a:spcBef>
              <a:spcAft>
                <a:spcPts val="0"/>
              </a:spcAft>
              <a:buClr>
                <a:schemeClr val="bg1"/>
              </a:buClr>
              <a:buFont typeface="Wingdings" panose="05000000000000000000" pitchFamily="2" charset="2"/>
              <a:buChar char=""/>
              <a:defRPr sz="2000" b="1" baseline="0">
                <a:solidFill>
                  <a:srgbClr val="336699"/>
                </a:solidFill>
              </a:defRPr>
            </a:lvl1pPr>
            <a:lvl2pPr marL="625475" indent="-182563">
              <a:spcBef>
                <a:spcPts val="600"/>
              </a:spcBef>
              <a:spcAft>
                <a:spcPts val="0"/>
              </a:spcAft>
              <a:buClrTx/>
              <a:buFont typeface="Calibri" panose="020F0502020204030204" pitchFamily="34" charset="0"/>
              <a:buChar char="–"/>
              <a:defRPr sz="1800" b="0" baseline="0">
                <a:solidFill>
                  <a:srgbClr val="336699"/>
                </a:solidFill>
              </a:defRPr>
            </a:lvl2pPr>
          </a:lstStyle>
          <a:p>
            <a:pPr lvl="0"/>
            <a:r>
              <a:rPr lang="en-US" dirty="0"/>
              <a:t>Click to edit Master text styles</a:t>
            </a:r>
          </a:p>
          <a:p>
            <a:pPr lvl="1"/>
            <a:r>
              <a:rPr lang="en-US" dirty="0"/>
              <a:t>Second level</a:t>
            </a:r>
          </a:p>
        </p:txBody>
      </p:sp>
      <p:sp>
        <p:nvSpPr>
          <p:cNvPr id="4" name="Footer Placeholder 3"/>
          <p:cNvSpPr>
            <a:spLocks noGrp="1"/>
          </p:cNvSpPr>
          <p:nvPr>
            <p:ph type="ftr" sz="quarter" idx="11"/>
          </p:nvPr>
        </p:nvSpPr>
        <p:spPr/>
        <p:txBody>
          <a:bodyPr/>
          <a:lstStyle/>
          <a:p>
            <a:r>
              <a:rPr lang="en-US" altLang="en-US" dirty="0">
                <a:solidFill>
                  <a:srgbClr val="FFFFFF"/>
                </a:solidFill>
              </a:rPr>
              <a:t>Medicaid Expansion Council Meeting | Kansas Expansion</a:t>
            </a:r>
          </a:p>
        </p:txBody>
      </p:sp>
    </p:spTree>
    <p:extLst>
      <p:ext uri="{BB962C8B-B14F-4D97-AF65-F5344CB8AC3E}">
        <p14:creationId xmlns:p14="http://schemas.microsoft.com/office/powerpoint/2010/main" val="2560860629"/>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o 2-Author">
    <p:spTree>
      <p:nvGrpSpPr>
        <p:cNvPr id="1" name=""/>
        <p:cNvGrpSpPr/>
        <p:nvPr/>
      </p:nvGrpSpPr>
      <p:grpSpPr>
        <a:xfrm>
          <a:off x="0" y="0"/>
          <a:ext cx="0" cy="0"/>
          <a:chOff x="0" y="0"/>
          <a:chExt cx="0" cy="0"/>
        </a:xfrm>
      </p:grpSpPr>
      <p:graphicFrame>
        <p:nvGraphicFramePr>
          <p:cNvPr id="9" name="Group 168"/>
          <p:cNvGraphicFramePr>
            <a:graphicFrameLocks noGrp="1"/>
          </p:cNvGraphicFramePr>
          <p:nvPr userDrawn="1">
            <p:extLst>
              <p:ext uri="{D42A27DB-BD31-4B8C-83A1-F6EECF244321}">
                <p14:modId xmlns:p14="http://schemas.microsoft.com/office/powerpoint/2010/main" val="2194648494"/>
              </p:ext>
            </p:extLst>
          </p:nvPr>
        </p:nvGraphicFramePr>
        <p:xfrm>
          <a:off x="457200" y="3200400"/>
          <a:ext cx="4419600" cy="304906"/>
        </p:xfrm>
        <a:graphic>
          <a:graphicData uri="http://schemas.openxmlformats.org/drawingml/2006/table">
            <a:tbl>
              <a:tblPr/>
              <a:tblGrid>
                <a:gridCol w="4419600">
                  <a:extLst>
                    <a:ext uri="{9D8B030D-6E8A-4147-A177-3AD203B41FA5}">
                      <a16:colId xmlns:a16="http://schemas.microsoft.com/office/drawing/2014/main" val="20000"/>
                    </a:ext>
                  </a:extLst>
                </a:gridCol>
              </a:tblGrid>
              <a:tr h="274638">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400" b="1" i="0" u="none" strike="noStrike" cap="none" normalizeH="0" baseline="0" dirty="0">
                          <a:ln>
                            <a:noFill/>
                          </a:ln>
                          <a:solidFill>
                            <a:schemeClr val="bg1"/>
                          </a:solidFill>
                          <a:effectLst/>
                          <a:latin typeface="+mn-lt"/>
                        </a:rPr>
                        <a:t>About</a:t>
                      </a:r>
                    </a:p>
                  </a:txBody>
                  <a:tcPr marT="45773" marB="4577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1" name="Content Placeholder 10"/>
          <p:cNvSpPr>
            <a:spLocks noGrp="1"/>
          </p:cNvSpPr>
          <p:nvPr>
            <p:ph sz="quarter" idx="11"/>
          </p:nvPr>
        </p:nvSpPr>
        <p:spPr>
          <a:xfrm>
            <a:off x="457200" y="3660774"/>
            <a:ext cx="4419600" cy="3197226"/>
          </a:xfrm>
        </p:spPr>
        <p:txBody>
          <a:bodyPr numCol="1" spcCol="274320"/>
          <a:lstStyle>
            <a:lvl1pPr marL="0" indent="0">
              <a:lnSpc>
                <a:spcPct val="100000"/>
              </a:lnSpc>
              <a:spcAft>
                <a:spcPts val="600"/>
              </a:spcAft>
              <a:buNone/>
              <a:defRPr sz="1400"/>
            </a:lvl1pPr>
            <a:lvl2pPr marL="225425" indent="-127000">
              <a:lnSpc>
                <a:spcPct val="100000"/>
              </a:lnSpc>
              <a:spcAft>
                <a:spcPts val="600"/>
              </a:spcAft>
              <a:buClrTx/>
              <a:buFont typeface="Wingdings" panose="05000000000000000000" pitchFamily="2" charset="2"/>
              <a:buChar char="§"/>
              <a:defRPr sz="1400" baseline="0"/>
            </a:lvl2pPr>
          </a:lstStyle>
          <a:p>
            <a:pPr lvl="0"/>
            <a:r>
              <a:rPr lang="en-US" dirty="0"/>
              <a:t>Click to edit Master text styles</a:t>
            </a:r>
          </a:p>
          <a:p>
            <a:pPr lvl="1"/>
            <a:r>
              <a:rPr lang="en-US" dirty="0"/>
              <a:t>Second level</a:t>
            </a:r>
          </a:p>
        </p:txBody>
      </p:sp>
      <p:sp>
        <p:nvSpPr>
          <p:cNvPr id="22" name="Picture Placeholder 21"/>
          <p:cNvSpPr>
            <a:spLocks noGrp="1"/>
          </p:cNvSpPr>
          <p:nvPr>
            <p:ph type="pic" sz="quarter" idx="14"/>
          </p:nvPr>
        </p:nvSpPr>
        <p:spPr>
          <a:xfrm>
            <a:off x="457200" y="1219200"/>
            <a:ext cx="1676400" cy="1676400"/>
          </a:xfrm>
        </p:spPr>
        <p:txBody>
          <a:bodyPr/>
          <a:lstStyle>
            <a:lvl1pPr marL="0" indent="0">
              <a:buNone/>
              <a:defRPr/>
            </a:lvl1pPr>
          </a:lstStyle>
          <a:p>
            <a:endParaRPr lang="en-US" dirty="0"/>
          </a:p>
        </p:txBody>
      </p:sp>
      <p:sp>
        <p:nvSpPr>
          <p:cNvPr id="5" name="Footer Placeholder 4"/>
          <p:cNvSpPr>
            <a:spLocks noGrp="1"/>
          </p:cNvSpPr>
          <p:nvPr>
            <p:ph type="ftr" sz="quarter" idx="15"/>
          </p:nvPr>
        </p:nvSpPr>
        <p:spPr/>
        <p:txBody>
          <a:bodyPr/>
          <a:lstStyle/>
          <a:p>
            <a:pPr>
              <a:defRPr/>
            </a:pPr>
            <a:r>
              <a:rPr lang="en-US" dirty="0"/>
              <a:t>Medicaid Expansion Council Meeting | Kansas Expansion</a:t>
            </a:r>
          </a:p>
        </p:txBody>
      </p:sp>
      <p:sp>
        <p:nvSpPr>
          <p:cNvPr id="3" name="Title 2"/>
          <p:cNvSpPr>
            <a:spLocks noGrp="1"/>
          </p:cNvSpPr>
          <p:nvPr>
            <p:ph type="title"/>
          </p:nvPr>
        </p:nvSpPr>
        <p:spPr/>
        <p:txBody>
          <a:bodyPr/>
          <a:lstStyle/>
          <a:p>
            <a:r>
              <a:rPr lang="en-US"/>
              <a:t>Click to edit Master title style</a:t>
            </a:r>
          </a:p>
        </p:txBody>
      </p:sp>
      <p:sp>
        <p:nvSpPr>
          <p:cNvPr id="13" name="Content Placeholder 18"/>
          <p:cNvSpPr>
            <a:spLocks noGrp="1"/>
          </p:cNvSpPr>
          <p:nvPr>
            <p:ph sz="quarter" idx="21"/>
          </p:nvPr>
        </p:nvSpPr>
        <p:spPr>
          <a:xfrm>
            <a:off x="2133600" y="1222375"/>
            <a:ext cx="2743200" cy="1673225"/>
          </a:xfrm>
        </p:spPr>
        <p:txBody>
          <a:bodyPr lIns="201168" tIns="137160" rIns="45720" bIns="45720"/>
          <a:lstStyle>
            <a:lvl1pPr marL="0" indent="0">
              <a:spcAft>
                <a:spcPts val="0"/>
              </a:spcAft>
              <a:buNone/>
              <a:defRPr sz="2200" b="1" baseline="0">
                <a:solidFill>
                  <a:schemeClr val="accent1"/>
                </a:solidFill>
                <a:latin typeface="+mj-lt"/>
              </a:defRPr>
            </a:lvl1pPr>
            <a:lvl2pPr marL="0" indent="0">
              <a:spcAft>
                <a:spcPts val="600"/>
              </a:spcAft>
              <a:buNone/>
              <a:defRPr sz="1400" b="1" baseline="0">
                <a:solidFill>
                  <a:schemeClr val="accent2"/>
                </a:solidFill>
              </a:defRPr>
            </a:lvl2pPr>
            <a:lvl3pPr marL="0" indent="0">
              <a:spcAft>
                <a:spcPts val="600"/>
              </a:spcAft>
              <a:buNone/>
              <a:defRPr sz="1400" baseline="0"/>
            </a:lvl3pPr>
          </a:lstStyle>
          <a:p>
            <a:pPr lvl="0"/>
            <a:r>
              <a:rPr lang="en-US" dirty="0"/>
              <a:t>Click to edit Master text styles</a:t>
            </a:r>
          </a:p>
          <a:p>
            <a:pPr lvl="1"/>
            <a:r>
              <a:rPr lang="en-US" dirty="0"/>
              <a:t>Second level</a:t>
            </a:r>
          </a:p>
          <a:p>
            <a:pPr lvl="2"/>
            <a:r>
              <a:rPr lang="en-US" dirty="0"/>
              <a:t>Third level</a:t>
            </a:r>
          </a:p>
        </p:txBody>
      </p:sp>
      <p:graphicFrame>
        <p:nvGraphicFramePr>
          <p:cNvPr id="14" name="Group 168"/>
          <p:cNvGraphicFramePr>
            <a:graphicFrameLocks noGrp="1"/>
          </p:cNvGraphicFramePr>
          <p:nvPr userDrawn="1">
            <p:extLst>
              <p:ext uri="{D42A27DB-BD31-4B8C-83A1-F6EECF244321}">
                <p14:modId xmlns:p14="http://schemas.microsoft.com/office/powerpoint/2010/main" val="3789740303"/>
              </p:ext>
            </p:extLst>
          </p:nvPr>
        </p:nvGraphicFramePr>
        <p:xfrm>
          <a:off x="5181600" y="3200400"/>
          <a:ext cx="4419600" cy="304906"/>
        </p:xfrm>
        <a:graphic>
          <a:graphicData uri="http://schemas.openxmlformats.org/drawingml/2006/table">
            <a:tbl>
              <a:tblPr/>
              <a:tblGrid>
                <a:gridCol w="4419600">
                  <a:extLst>
                    <a:ext uri="{9D8B030D-6E8A-4147-A177-3AD203B41FA5}">
                      <a16:colId xmlns:a16="http://schemas.microsoft.com/office/drawing/2014/main" val="20000"/>
                    </a:ext>
                  </a:extLst>
                </a:gridCol>
              </a:tblGrid>
              <a:tr h="274638">
                <a:tc>
                  <a:txBody>
                    <a:bodyPr/>
                    <a:lstStyle/>
                    <a:p>
                      <a:pPr marL="0" marR="0" lvl="0" indent="0" algn="l" defTabSz="1019175" rtl="0" eaLnBrk="1" fontAlgn="base" latinLnBrk="0" hangingPunct="1">
                        <a:lnSpc>
                          <a:spcPct val="100000"/>
                        </a:lnSpc>
                        <a:spcBef>
                          <a:spcPct val="0"/>
                        </a:spcBef>
                        <a:spcAft>
                          <a:spcPct val="50000"/>
                        </a:spcAft>
                        <a:buClr>
                          <a:schemeClr val="tx2"/>
                        </a:buClr>
                        <a:buSzTx/>
                        <a:buFont typeface="Wingdings" charset="2"/>
                        <a:buNone/>
                        <a:tabLst/>
                      </a:pPr>
                      <a:r>
                        <a:rPr kumimoji="0" lang="en-US" sz="1400" b="1" i="0" u="none" strike="noStrike" cap="none" normalizeH="0" baseline="0" dirty="0">
                          <a:ln>
                            <a:noFill/>
                          </a:ln>
                          <a:solidFill>
                            <a:schemeClr val="bg1"/>
                          </a:solidFill>
                          <a:effectLst/>
                          <a:latin typeface="+mn-lt"/>
                        </a:rPr>
                        <a:t>About</a:t>
                      </a:r>
                    </a:p>
                  </a:txBody>
                  <a:tcPr marT="45773" marB="45773"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bl>
          </a:graphicData>
        </a:graphic>
      </p:graphicFrame>
      <p:sp>
        <p:nvSpPr>
          <p:cNvPr id="16" name="Content Placeholder 10"/>
          <p:cNvSpPr>
            <a:spLocks noGrp="1"/>
          </p:cNvSpPr>
          <p:nvPr>
            <p:ph sz="quarter" idx="22"/>
          </p:nvPr>
        </p:nvSpPr>
        <p:spPr>
          <a:xfrm>
            <a:off x="5181600" y="3660774"/>
            <a:ext cx="4419600" cy="3197226"/>
          </a:xfrm>
        </p:spPr>
        <p:txBody>
          <a:bodyPr numCol="1" spcCol="274320"/>
          <a:lstStyle>
            <a:lvl1pPr marL="0" indent="0">
              <a:lnSpc>
                <a:spcPct val="100000"/>
              </a:lnSpc>
              <a:spcAft>
                <a:spcPts val="600"/>
              </a:spcAft>
              <a:buNone/>
              <a:defRPr sz="1400"/>
            </a:lvl1pPr>
            <a:lvl2pPr marL="225425" indent="-127000">
              <a:lnSpc>
                <a:spcPct val="100000"/>
              </a:lnSpc>
              <a:spcAft>
                <a:spcPts val="600"/>
              </a:spcAft>
              <a:buClrTx/>
              <a:buFont typeface="Wingdings" panose="05000000000000000000" pitchFamily="2" charset="2"/>
              <a:buChar char="§"/>
              <a:defRPr sz="1400" baseline="0"/>
            </a:lvl2pPr>
          </a:lstStyle>
          <a:p>
            <a:pPr lvl="0"/>
            <a:r>
              <a:rPr lang="en-US" dirty="0"/>
              <a:t>Click to edit Master text styles</a:t>
            </a:r>
          </a:p>
          <a:p>
            <a:pPr lvl="1"/>
            <a:r>
              <a:rPr lang="en-US" dirty="0"/>
              <a:t>Second level</a:t>
            </a:r>
          </a:p>
        </p:txBody>
      </p:sp>
      <p:sp>
        <p:nvSpPr>
          <p:cNvPr id="17" name="Picture Placeholder 21"/>
          <p:cNvSpPr>
            <a:spLocks noGrp="1"/>
          </p:cNvSpPr>
          <p:nvPr>
            <p:ph type="pic" sz="quarter" idx="23"/>
          </p:nvPr>
        </p:nvSpPr>
        <p:spPr>
          <a:xfrm>
            <a:off x="5181600" y="1219200"/>
            <a:ext cx="1676400" cy="1676400"/>
          </a:xfrm>
        </p:spPr>
        <p:txBody>
          <a:bodyPr/>
          <a:lstStyle>
            <a:lvl1pPr marL="0" indent="0">
              <a:buNone/>
              <a:defRPr/>
            </a:lvl1pPr>
          </a:lstStyle>
          <a:p>
            <a:endParaRPr lang="en-US" dirty="0"/>
          </a:p>
        </p:txBody>
      </p:sp>
      <p:sp>
        <p:nvSpPr>
          <p:cNvPr id="18" name="Content Placeholder 18"/>
          <p:cNvSpPr>
            <a:spLocks noGrp="1"/>
          </p:cNvSpPr>
          <p:nvPr>
            <p:ph sz="quarter" idx="24"/>
          </p:nvPr>
        </p:nvSpPr>
        <p:spPr>
          <a:xfrm>
            <a:off x="6858000" y="1222375"/>
            <a:ext cx="2743200" cy="1673225"/>
          </a:xfrm>
        </p:spPr>
        <p:txBody>
          <a:bodyPr lIns="201168" tIns="137160" rIns="45720" bIns="45720"/>
          <a:lstStyle>
            <a:lvl1pPr marL="0" indent="0">
              <a:spcAft>
                <a:spcPts val="0"/>
              </a:spcAft>
              <a:buNone/>
              <a:defRPr sz="2200" b="1" baseline="0">
                <a:solidFill>
                  <a:schemeClr val="accent1"/>
                </a:solidFill>
                <a:latin typeface="+mj-lt"/>
              </a:defRPr>
            </a:lvl1pPr>
            <a:lvl2pPr marL="0" indent="0">
              <a:spcAft>
                <a:spcPts val="600"/>
              </a:spcAft>
              <a:buNone/>
              <a:defRPr sz="1400" b="1" baseline="0">
                <a:solidFill>
                  <a:schemeClr val="accent2"/>
                </a:solidFill>
              </a:defRPr>
            </a:lvl2pPr>
            <a:lvl3pPr marL="0" indent="0">
              <a:spcAft>
                <a:spcPts val="600"/>
              </a:spcAft>
              <a:buNone/>
              <a:defRPr sz="1400" baseline="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25254626"/>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174625" y="56371"/>
            <a:ext cx="9655176" cy="1162829"/>
          </a:xfrm>
          <a:prstGeom prst="rect">
            <a:avLst/>
          </a:prstGeom>
          <a:solidFill>
            <a:schemeClr val="bg1"/>
          </a:solidFill>
          <a:ln w="9525" cap="flat" cmpd="sng" algn="ctr">
            <a:noFill/>
            <a:prstDash val="solid"/>
            <a:round/>
            <a:headEnd type="none" w="med" len="med"/>
            <a:tailEnd type="none" w="med" len="med"/>
          </a:ln>
          <a:effectLst/>
        </p:spPr>
        <p:txBody>
          <a:bodyPr vert="horz" wrap="square" lIns="113490" tIns="56745" rIns="113490" bIns="56745" numCol="1" spcCol="0" rtlCol="0" anchor="ctr" anchorCtr="0" compatLnSpc="1">
            <a:prstTxWarp prst="textNoShape">
              <a:avLst/>
            </a:prstTxWarp>
          </a:bodyPr>
          <a:lstStyle/>
          <a:p>
            <a:pPr algn="ctr"/>
            <a:endParaRPr lang="en-US" b="1" dirty="0">
              <a:solidFill>
                <a:srgbClr val="000000"/>
              </a:solidFill>
              <a:latin typeface="Calibri"/>
            </a:endParaRPr>
          </a:p>
        </p:txBody>
      </p:sp>
      <p:sp>
        <p:nvSpPr>
          <p:cNvPr id="2" name="Footer Placeholder 1"/>
          <p:cNvSpPr>
            <a:spLocks noGrp="1"/>
          </p:cNvSpPr>
          <p:nvPr>
            <p:ph type="ftr" sz="quarter" idx="10"/>
          </p:nvPr>
        </p:nvSpPr>
        <p:spPr/>
        <p:txBody>
          <a:bodyPr/>
          <a:lstStyle/>
          <a:p>
            <a:r>
              <a:rPr lang="en-US" altLang="en-US" dirty="0"/>
              <a:t>Medicaid Expansion Council Meeting | Kansas Expansion</a:t>
            </a:r>
          </a:p>
        </p:txBody>
      </p:sp>
      <p:sp>
        <p:nvSpPr>
          <p:cNvPr id="12" name="Rectangle 8"/>
          <p:cNvSpPr>
            <a:spLocks noChangeArrowheads="1"/>
          </p:cNvSpPr>
          <p:nvPr userDrawn="1"/>
        </p:nvSpPr>
        <p:spPr bwMode="auto">
          <a:xfrm>
            <a:off x="502921" y="2645082"/>
            <a:ext cx="9052560" cy="1899920"/>
          </a:xfrm>
          <a:prstGeom prst="rect">
            <a:avLst/>
          </a:prstGeom>
          <a:solidFill>
            <a:schemeClr val="bg2">
              <a:lumMod val="40000"/>
              <a:lumOff val="60000"/>
            </a:schemeClr>
          </a:solidFill>
          <a:ln w="9525">
            <a:noFill/>
            <a:miter lim="800000"/>
            <a:headEnd/>
            <a:tailEnd/>
          </a:ln>
        </p:spPr>
        <p:txBody>
          <a:bodyPr wrap="none" lIns="113410" tIns="56705" rIns="113410" bIns="56705" anchor="ctr"/>
          <a:lstStyle/>
          <a:p>
            <a:pPr defTabSz="1018109" eaLnBrk="1" hangingPunct="1"/>
            <a:endParaRPr lang="en-US" sz="1200"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1066800" y="2645082"/>
            <a:ext cx="7924800" cy="1899920"/>
          </a:xfrm>
        </p:spPr>
        <p:txBody>
          <a:bodyPr anchor="ctr" anchorCtr="1">
            <a:normAutofit/>
          </a:bodyPr>
          <a:lstStyle>
            <a:lvl1pPr algn="ctr">
              <a:lnSpc>
                <a:spcPct val="100000"/>
              </a:lnSpc>
              <a:defRPr>
                <a:solidFill>
                  <a:schemeClr val="tx1"/>
                </a:solidFill>
              </a:defRPr>
            </a:lvl1pPr>
          </a:lstStyle>
          <a:p>
            <a:r>
              <a:rPr lang="en-US" dirty="0"/>
              <a:t>Click to edit Master title style</a:t>
            </a:r>
          </a:p>
        </p:txBody>
      </p:sp>
      <p:sp>
        <p:nvSpPr>
          <p:cNvPr id="10" name="Rectangle 7"/>
          <p:cNvSpPr>
            <a:spLocks noChangeArrowheads="1"/>
          </p:cNvSpPr>
          <p:nvPr userDrawn="1"/>
        </p:nvSpPr>
        <p:spPr bwMode="ltGray">
          <a:xfrm>
            <a:off x="502920" y="658802"/>
            <a:ext cx="9052560" cy="5872480"/>
          </a:xfrm>
          <a:prstGeom prst="rect">
            <a:avLst/>
          </a:prstGeom>
          <a:noFill/>
          <a:ln w="88900">
            <a:solidFill>
              <a:schemeClr val="bg2"/>
            </a:solidFill>
            <a:miter lim="800000"/>
            <a:headEnd/>
            <a:tailEnd/>
          </a:ln>
          <a:effectLst/>
        </p:spPr>
        <p:txBody>
          <a:bodyPr wrap="none" lIns="113410" tIns="56705" rIns="113410" bIns="56705" anchor="ctr"/>
          <a:lstStyle/>
          <a:p>
            <a:pPr defTabSz="1018109" eaLnBrk="1" hangingPunct="1">
              <a:defRPr/>
            </a:pPr>
            <a:endParaRPr lang="en-US" sz="1200"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3989698860"/>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5" name="Content Placeholder 4"/>
          <p:cNvSpPr>
            <a:spLocks noGrp="1"/>
          </p:cNvSpPr>
          <p:nvPr>
            <p:ph sz="quarter" idx="1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2869046"/>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6" name="Text Placeholder 5"/>
          <p:cNvSpPr>
            <a:spLocks noGrp="1"/>
          </p:cNvSpPr>
          <p:nvPr>
            <p:ph type="body" sz="quarter" idx="11" hasCustomPrompt="1"/>
          </p:nvPr>
        </p:nvSpPr>
        <p:spPr>
          <a:xfrm>
            <a:off x="457200" y="6597288"/>
            <a:ext cx="9144000" cy="260712"/>
          </a:xfrm>
          <a:solidFill>
            <a:schemeClr val="bg1">
              <a:lumMod val="95000"/>
            </a:schemeClr>
          </a:solidFill>
        </p:spPr>
        <p:txBody>
          <a:bodyPr tIns="54864" anchor="b" anchorCtr="0">
            <a:spAutoFit/>
          </a:bodyPr>
          <a:lstStyle>
            <a:lvl1pPr marL="0" indent="0">
              <a:spcAft>
                <a:spcPts val="0"/>
              </a:spcAft>
              <a:buNone/>
              <a:defRPr sz="1000" i="1"/>
            </a:lvl1pPr>
          </a:lstStyle>
          <a:p>
            <a:pPr lvl="0"/>
            <a:r>
              <a:rPr lang="en-US" dirty="0"/>
              <a:t>Source:</a:t>
            </a:r>
          </a:p>
        </p:txBody>
      </p:sp>
      <p:sp>
        <p:nvSpPr>
          <p:cNvPr id="10" name="Content Placeholder 9"/>
          <p:cNvSpPr>
            <a:spLocks noGrp="1"/>
          </p:cNvSpPr>
          <p:nvPr>
            <p:ph sz="quarter" idx="12"/>
          </p:nvPr>
        </p:nvSpPr>
        <p:spPr>
          <a:xfrm>
            <a:off x="457200" y="1219200"/>
            <a:ext cx="9144000" cy="53780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6722558"/>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ue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9" name="Text Placeholder 8"/>
          <p:cNvSpPr>
            <a:spLocks noGrp="1"/>
          </p:cNvSpPr>
          <p:nvPr>
            <p:ph type="body" sz="quarter" idx="11"/>
          </p:nvPr>
        </p:nvSpPr>
        <p:spPr>
          <a:xfrm>
            <a:off x="457200" y="1219200"/>
            <a:ext cx="9144000" cy="914400"/>
          </a:xfrm>
          <a:solidFill>
            <a:schemeClr val="bg2"/>
          </a:solidFill>
        </p:spPr>
        <p:txBody>
          <a:bodyPr bIns="0" anchor="ctr" anchorCtr="0">
            <a:normAutofit/>
          </a:bodyPr>
          <a:lstStyle>
            <a:lvl1pPr marL="0" indent="0" algn="ctr">
              <a:buNone/>
              <a:defRPr b="1">
                <a:solidFill>
                  <a:schemeClr val="bg1"/>
                </a:solidFill>
              </a:defRPr>
            </a:lvl1pPr>
            <a:lvl2pPr marL="285750" indent="0" algn="ctr">
              <a:buNone/>
              <a:defRPr b="1">
                <a:solidFill>
                  <a:schemeClr val="bg1"/>
                </a:solidFill>
              </a:defRPr>
            </a:lvl2pPr>
            <a:lvl3pPr marL="571500" indent="0" algn="ctr">
              <a:buNone/>
              <a:defRPr b="1">
                <a:solidFill>
                  <a:schemeClr val="bg1"/>
                </a:solidFill>
              </a:defRPr>
            </a:lvl3pPr>
            <a:lvl4pPr marL="800100" indent="0" algn="ctr">
              <a:buNone/>
              <a:defRPr b="1">
                <a:solidFill>
                  <a:schemeClr val="bg1"/>
                </a:solidFill>
              </a:defRPr>
            </a:lvl4pPr>
            <a:lvl5pPr marL="1085850"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57200" y="2209800"/>
            <a:ext cx="9144000" cy="464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1059986"/>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ue Title Bar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9" name="Text Placeholder 8"/>
          <p:cNvSpPr>
            <a:spLocks noGrp="1"/>
          </p:cNvSpPr>
          <p:nvPr>
            <p:ph type="body" sz="quarter" idx="11"/>
          </p:nvPr>
        </p:nvSpPr>
        <p:spPr>
          <a:xfrm>
            <a:off x="457200" y="1219200"/>
            <a:ext cx="9144000" cy="914400"/>
          </a:xfrm>
          <a:solidFill>
            <a:schemeClr val="bg2"/>
          </a:solidFill>
        </p:spPr>
        <p:txBody>
          <a:bodyPr bIns="0" anchor="ctr" anchorCtr="0">
            <a:normAutofit/>
          </a:bodyPr>
          <a:lstStyle>
            <a:lvl1pPr marL="0" indent="0" algn="ctr">
              <a:buNone/>
              <a:defRPr b="1">
                <a:solidFill>
                  <a:schemeClr val="bg1"/>
                </a:solidFill>
              </a:defRPr>
            </a:lvl1pPr>
            <a:lvl2pPr marL="285750" indent="0" algn="ctr">
              <a:buNone/>
              <a:defRPr b="1">
                <a:solidFill>
                  <a:schemeClr val="bg1"/>
                </a:solidFill>
              </a:defRPr>
            </a:lvl2pPr>
            <a:lvl3pPr marL="571500" indent="0" algn="ctr">
              <a:buNone/>
              <a:defRPr b="1">
                <a:solidFill>
                  <a:schemeClr val="bg1"/>
                </a:solidFill>
              </a:defRPr>
            </a:lvl3pPr>
            <a:lvl4pPr marL="800100" indent="0" algn="ctr">
              <a:buNone/>
              <a:defRPr b="1">
                <a:solidFill>
                  <a:schemeClr val="bg1"/>
                </a:solidFill>
              </a:defRPr>
            </a:lvl4pPr>
            <a:lvl5pPr marL="1085850"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57200" y="2209800"/>
            <a:ext cx="9144000" cy="43910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3" hasCustomPrompt="1"/>
          </p:nvPr>
        </p:nvSpPr>
        <p:spPr>
          <a:xfrm>
            <a:off x="457200" y="6597288"/>
            <a:ext cx="9144000" cy="260712"/>
          </a:xfrm>
          <a:solidFill>
            <a:schemeClr val="bg1">
              <a:lumMod val="95000"/>
            </a:schemeClr>
          </a:solidFill>
        </p:spPr>
        <p:txBody>
          <a:bodyPr tIns="54864" anchor="b" anchorCtr="0">
            <a:spAutoFit/>
          </a:bodyPr>
          <a:lstStyle>
            <a:lvl1pPr marL="0" indent="0">
              <a:spcAft>
                <a:spcPts val="0"/>
              </a:spcAft>
              <a:buNone/>
              <a:defRPr sz="1000" i="1"/>
            </a:lvl1pPr>
          </a:lstStyle>
          <a:p>
            <a:pPr lvl="0"/>
            <a:r>
              <a:rPr lang="en-US" dirty="0"/>
              <a:t>Source:</a:t>
            </a:r>
          </a:p>
        </p:txBody>
      </p:sp>
    </p:spTree>
    <p:extLst>
      <p:ext uri="{BB962C8B-B14F-4D97-AF65-F5344CB8AC3E}">
        <p14:creationId xmlns:p14="http://schemas.microsoft.com/office/powerpoint/2010/main" val="1363638238"/>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old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9" name="Text Placeholder 8"/>
          <p:cNvSpPr>
            <a:spLocks noGrp="1"/>
          </p:cNvSpPr>
          <p:nvPr>
            <p:ph type="body" sz="quarter" idx="11"/>
          </p:nvPr>
        </p:nvSpPr>
        <p:spPr>
          <a:xfrm>
            <a:off x="457200" y="1219200"/>
            <a:ext cx="9144000" cy="914400"/>
          </a:xfrm>
          <a:solidFill>
            <a:schemeClr val="accent1"/>
          </a:solidFill>
        </p:spPr>
        <p:txBody>
          <a:bodyPr bIns="0" anchor="ctr" anchorCtr="0">
            <a:normAutofit/>
          </a:bodyPr>
          <a:lstStyle>
            <a:lvl1pPr marL="0" indent="0" algn="ctr">
              <a:buNone/>
              <a:defRPr b="1">
                <a:solidFill>
                  <a:schemeClr val="bg1"/>
                </a:solidFill>
              </a:defRPr>
            </a:lvl1pPr>
            <a:lvl2pPr marL="285750" indent="0" algn="ctr">
              <a:buNone/>
              <a:defRPr b="1">
                <a:solidFill>
                  <a:schemeClr val="bg1"/>
                </a:solidFill>
              </a:defRPr>
            </a:lvl2pPr>
            <a:lvl3pPr marL="571500" indent="0" algn="ctr">
              <a:buNone/>
              <a:defRPr b="1">
                <a:solidFill>
                  <a:schemeClr val="bg1"/>
                </a:solidFill>
              </a:defRPr>
            </a:lvl3pPr>
            <a:lvl4pPr marL="800100" indent="0" algn="ctr">
              <a:buNone/>
              <a:defRPr b="1">
                <a:solidFill>
                  <a:schemeClr val="bg1"/>
                </a:solidFill>
              </a:defRPr>
            </a:lvl4pPr>
            <a:lvl5pPr marL="1085850"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57200" y="2209800"/>
            <a:ext cx="9144000" cy="4648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9449860"/>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old Title Bar and Content + Sourc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Footer Placeholder 3"/>
          <p:cNvSpPr>
            <a:spLocks noGrp="1"/>
          </p:cNvSpPr>
          <p:nvPr>
            <p:ph type="ftr" sz="quarter" idx="10"/>
          </p:nvPr>
        </p:nvSpPr>
        <p:spPr/>
        <p:txBody>
          <a:bodyPr/>
          <a:lstStyle>
            <a:lvl1pPr>
              <a:defRPr/>
            </a:lvl1pPr>
          </a:lstStyle>
          <a:p>
            <a:r>
              <a:rPr lang="en-US" altLang="en-US" dirty="0"/>
              <a:t>Medicaid Expansion Council Meeting | Kansas Expansion</a:t>
            </a:r>
          </a:p>
        </p:txBody>
      </p:sp>
      <p:sp>
        <p:nvSpPr>
          <p:cNvPr id="9" name="Text Placeholder 8"/>
          <p:cNvSpPr>
            <a:spLocks noGrp="1"/>
          </p:cNvSpPr>
          <p:nvPr>
            <p:ph type="body" sz="quarter" idx="11"/>
          </p:nvPr>
        </p:nvSpPr>
        <p:spPr>
          <a:xfrm>
            <a:off x="457200" y="1219200"/>
            <a:ext cx="9144000" cy="914400"/>
          </a:xfrm>
          <a:solidFill>
            <a:schemeClr val="accent1"/>
          </a:solidFill>
        </p:spPr>
        <p:txBody>
          <a:bodyPr bIns="0" anchor="ctr" anchorCtr="0">
            <a:normAutofit/>
          </a:bodyPr>
          <a:lstStyle>
            <a:lvl1pPr marL="0" indent="0" algn="ctr">
              <a:buNone/>
              <a:defRPr b="1">
                <a:solidFill>
                  <a:schemeClr val="bg1"/>
                </a:solidFill>
              </a:defRPr>
            </a:lvl1pPr>
            <a:lvl2pPr marL="285750" indent="0" algn="ctr">
              <a:buNone/>
              <a:defRPr b="1">
                <a:solidFill>
                  <a:schemeClr val="bg1"/>
                </a:solidFill>
              </a:defRPr>
            </a:lvl2pPr>
            <a:lvl3pPr marL="571500" indent="0" algn="ctr">
              <a:buNone/>
              <a:defRPr b="1">
                <a:solidFill>
                  <a:schemeClr val="bg1"/>
                </a:solidFill>
              </a:defRPr>
            </a:lvl3pPr>
            <a:lvl4pPr marL="800100" indent="0" algn="ctr">
              <a:buNone/>
              <a:defRPr b="1">
                <a:solidFill>
                  <a:schemeClr val="bg1"/>
                </a:solidFill>
              </a:defRPr>
            </a:lvl4pPr>
            <a:lvl5pPr marL="1085850" indent="0" algn="ctr">
              <a:buNone/>
              <a:defRPr b="1">
                <a:solidFill>
                  <a:schemeClr val="bg1"/>
                </a:solidFill>
              </a:defRPr>
            </a:lvl5pPr>
          </a:lstStyle>
          <a:p>
            <a:pPr lvl="0"/>
            <a:r>
              <a:rPr lang="en-US" dirty="0"/>
              <a:t>Click to edit Master text styles</a:t>
            </a:r>
          </a:p>
        </p:txBody>
      </p:sp>
      <p:sp>
        <p:nvSpPr>
          <p:cNvPr id="6" name="Content Placeholder 5"/>
          <p:cNvSpPr>
            <a:spLocks noGrp="1"/>
          </p:cNvSpPr>
          <p:nvPr>
            <p:ph sz="quarter" idx="12"/>
          </p:nvPr>
        </p:nvSpPr>
        <p:spPr>
          <a:xfrm>
            <a:off x="457200" y="2209800"/>
            <a:ext cx="9144000" cy="43874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3" hasCustomPrompt="1"/>
          </p:nvPr>
        </p:nvSpPr>
        <p:spPr>
          <a:xfrm>
            <a:off x="457200" y="6597288"/>
            <a:ext cx="9144000" cy="260712"/>
          </a:xfrm>
          <a:solidFill>
            <a:schemeClr val="bg1">
              <a:lumMod val="95000"/>
            </a:schemeClr>
          </a:solidFill>
        </p:spPr>
        <p:txBody>
          <a:bodyPr tIns="54864" anchor="b" anchorCtr="0">
            <a:spAutoFit/>
          </a:bodyPr>
          <a:lstStyle>
            <a:lvl1pPr marL="0" indent="0">
              <a:spcAft>
                <a:spcPts val="0"/>
              </a:spcAft>
              <a:buNone/>
              <a:defRPr sz="1000" i="1"/>
            </a:lvl1pPr>
          </a:lstStyle>
          <a:p>
            <a:pPr lvl="0"/>
            <a:r>
              <a:rPr lang="en-US" dirty="0"/>
              <a:t>Source:</a:t>
            </a:r>
          </a:p>
        </p:txBody>
      </p:sp>
    </p:spTree>
    <p:extLst>
      <p:ext uri="{BB962C8B-B14F-4D97-AF65-F5344CB8AC3E}">
        <p14:creationId xmlns:p14="http://schemas.microsoft.com/office/powerpoint/2010/main" val="3104157442"/>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3"/>
            </p:custDataLst>
            <p:extLst>
              <p:ext uri="{D42A27DB-BD31-4B8C-83A1-F6EECF244321}">
                <p14:modId xmlns:p14="http://schemas.microsoft.com/office/powerpoint/2010/main" val="1557421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9"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4"/>
            </p:custDataLst>
          </p:nvPr>
        </p:nvSpPr>
        <p:spPr bwMode="auto">
          <a:xfrm>
            <a:off x="0" y="0"/>
            <a:ext cx="158750" cy="158750"/>
          </a:xfrm>
          <a:prstGeom prst="rect">
            <a:avLst/>
          </a:prstGeom>
          <a:solidFill>
            <a:schemeClr val="bg2"/>
          </a:solidFill>
          <a:ln>
            <a:noFill/>
          </a:ln>
          <a:effectLst/>
        </p:spPr>
        <p:txBody>
          <a:bodyPr wrap="none" lIns="0" tIns="0" rIns="0" bIns="0" rtlCol="0" anchor="ctr" anchorCtr="0">
            <a:noAutofit/>
          </a:bodyPr>
          <a:lstStyle/>
          <a:p>
            <a:pPr marL="0" lvl="0" indent="0" algn="ctr" eaLnBrk="1" hangingPunct="1"/>
            <a:endParaRPr lang="en-US" sz="2800" b="1" i="0" baseline="0" dirty="0">
              <a:solidFill>
                <a:schemeClr val="bg1"/>
              </a:solidFill>
              <a:latin typeface="Calibri"/>
              <a:ea typeface="+mj-ea"/>
              <a:cs typeface="+mj-cs"/>
              <a:sym typeface="Calibri"/>
            </a:endParaRPr>
          </a:p>
        </p:txBody>
      </p:sp>
      <p:grpSp>
        <p:nvGrpSpPr>
          <p:cNvPr id="676890" name="Group 26"/>
          <p:cNvGrpSpPr>
            <a:grpSpLocks/>
          </p:cNvGrpSpPr>
          <p:nvPr/>
        </p:nvGrpSpPr>
        <p:grpSpPr bwMode="auto">
          <a:xfrm>
            <a:off x="457200" y="6934200"/>
            <a:ext cx="9144000" cy="541338"/>
            <a:chOff x="288" y="4363"/>
            <a:chExt cx="5760" cy="341"/>
          </a:xfrm>
        </p:grpSpPr>
        <p:sp>
          <p:nvSpPr>
            <p:cNvPr id="676891" name="Rectangle 27"/>
            <p:cNvSpPr>
              <a:spLocks noChangeArrowheads="1"/>
            </p:cNvSpPr>
            <p:nvPr userDrawn="1"/>
          </p:nvSpPr>
          <p:spPr bwMode="blackWhite">
            <a:xfrm>
              <a:off x="288" y="4363"/>
              <a:ext cx="5040" cy="34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latin typeface="Calibri" panose="020F0502020204030204" pitchFamily="34" charset="0"/>
              </a:endParaRPr>
            </a:p>
          </p:txBody>
        </p:sp>
        <p:pic>
          <p:nvPicPr>
            <p:cNvPr id="676892" name="Picture 28" descr="MP-logo_RGB"/>
            <p:cNvPicPr>
              <a:picLocks noChangeAspect="1" noChangeArrowheads="1"/>
            </p:cNvPicPr>
            <p:nvPr userDrawn="1"/>
          </p:nvPicPr>
          <p:blipFill>
            <a:blip r:embed="rId27" cstate="print">
              <a:extLst>
                <a:ext uri="{28A0092B-C50C-407E-A947-70E740481C1C}">
                  <a14:useLocalDpi xmlns:a14="http://schemas.microsoft.com/office/drawing/2010/main" val="0"/>
                </a:ext>
              </a:extLst>
            </a:blip>
            <a:srcRect/>
            <a:stretch>
              <a:fillRect/>
            </a:stretch>
          </p:blipFill>
          <p:spPr bwMode="auto">
            <a:xfrm>
              <a:off x="5328" y="4363"/>
              <a:ext cx="720" cy="341"/>
            </a:xfrm>
            <a:prstGeom prst="rect">
              <a:avLst/>
            </a:prstGeom>
            <a:noFill/>
            <a:extLst>
              <a:ext uri="{909E8E84-426E-40DD-AFC4-6F175D3DCCD1}">
                <a14:hiddenFill xmlns:a14="http://schemas.microsoft.com/office/drawing/2010/main">
                  <a:solidFill>
                    <a:srgbClr val="FFFFFF"/>
                  </a:solidFill>
                </a14:hiddenFill>
              </a:ext>
            </a:extLst>
          </p:spPr>
        </p:pic>
      </p:grpSp>
      <p:sp>
        <p:nvSpPr>
          <p:cNvPr id="676893" name="Rectangle 2"/>
          <p:cNvSpPr>
            <a:spLocks noGrp="1" noChangeArrowheads="1"/>
          </p:cNvSpPr>
          <p:nvPr>
            <p:ph type="title"/>
          </p:nvPr>
        </p:nvSpPr>
        <p:spPr bwMode="auto">
          <a:xfrm>
            <a:off x="457200" y="409239"/>
            <a:ext cx="8763000" cy="533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50927" rIns="101854" bIns="50927" numCol="1" anchor="b" anchorCtr="0" compatLnSpc="1">
            <a:prstTxWarp prst="textNoShape">
              <a:avLst/>
            </a:prstTxWarp>
            <a:spAutoFit/>
          </a:bodyPr>
          <a:lstStyle/>
          <a:p>
            <a:pPr lvl="0"/>
            <a:r>
              <a:rPr lang="en-US" altLang="en-US" dirty="0"/>
              <a:t>Click to edit Master title style</a:t>
            </a:r>
          </a:p>
        </p:txBody>
      </p:sp>
      <p:sp>
        <p:nvSpPr>
          <p:cNvPr id="676894" name="Rectangle 3"/>
          <p:cNvSpPr>
            <a:spLocks noGrp="1" noChangeArrowheads="1"/>
          </p:cNvSpPr>
          <p:nvPr>
            <p:ph type="body" idx="1"/>
          </p:nvPr>
        </p:nvSpPr>
        <p:spPr bwMode="auto">
          <a:xfrm>
            <a:off x="457200" y="1219200"/>
            <a:ext cx="91440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36" name="Line 12"/>
          <p:cNvSpPr>
            <a:spLocks noChangeShapeType="1"/>
          </p:cNvSpPr>
          <p:nvPr/>
        </p:nvSpPr>
        <p:spPr bwMode="auto">
          <a:xfrm>
            <a:off x="457200" y="914400"/>
            <a:ext cx="9144000" cy="0"/>
          </a:xfrm>
          <a:prstGeom prst="line">
            <a:avLst/>
          </a:prstGeom>
          <a:noFill/>
          <a:ln w="25400">
            <a:solidFill>
              <a:schemeClr val="accent1"/>
            </a:solidFill>
            <a:round/>
            <a:headEnd/>
            <a:tailEnd/>
          </a:ln>
          <a:effectLst/>
        </p:spPr>
        <p:txBody>
          <a:bodyPr lIns="96661" tIns="48331" rIns="96661" bIns="48331"/>
          <a:lstStyle/>
          <a:p>
            <a:pPr eaLnBrk="1" hangingPunct="1">
              <a:defRPr/>
            </a:pPr>
            <a:endParaRPr lang="en-US" sz="2000" dirty="0">
              <a:latin typeface="Calibri" panose="020F0502020204030204" pitchFamily="34" charset="0"/>
            </a:endParaRPr>
          </a:p>
        </p:txBody>
      </p:sp>
      <p:sp>
        <p:nvSpPr>
          <p:cNvPr id="676897" name="Rectangle 33"/>
          <p:cNvSpPr>
            <a:spLocks noGrp="1" noChangeArrowheads="1"/>
          </p:cNvSpPr>
          <p:nvPr>
            <p:ph type="ftr" sz="quarter" idx="3"/>
          </p:nvPr>
        </p:nvSpPr>
        <p:spPr bwMode="auto">
          <a:xfrm>
            <a:off x="457200" y="7086600"/>
            <a:ext cx="6475413"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0584" tIns="0" rIns="0" bIns="0" numCol="1" anchor="ctr" anchorCtr="0" compatLnSpc="1">
            <a:prstTxWarp prst="textNoShape">
              <a:avLst/>
            </a:prstTxWarp>
          </a:bodyPr>
          <a:lstStyle>
            <a:lvl1pPr>
              <a:lnSpc>
                <a:spcPct val="80000"/>
              </a:lnSpc>
              <a:spcBef>
                <a:spcPct val="10000"/>
              </a:spcBef>
              <a:spcAft>
                <a:spcPct val="10000"/>
              </a:spcAft>
              <a:defRPr sz="1000">
                <a:solidFill>
                  <a:schemeClr val="bg1"/>
                </a:solidFill>
                <a:latin typeface="+mn-lt"/>
                <a:ea typeface="ＭＳ Ｐゴシック" pitchFamily="1" charset="-128"/>
              </a:defRPr>
            </a:lvl1pPr>
          </a:lstStyle>
          <a:p>
            <a:r>
              <a:rPr lang="en-US" altLang="en-US" dirty="0"/>
              <a:t>Medicaid Expansion Council Meeting | Kansas Expansion</a:t>
            </a:r>
          </a:p>
        </p:txBody>
      </p:sp>
      <p:sp>
        <p:nvSpPr>
          <p:cNvPr id="1037" name="Text Box 13"/>
          <p:cNvSpPr txBox="1">
            <a:spLocks noChangeArrowheads="1"/>
          </p:cNvSpPr>
          <p:nvPr/>
        </p:nvSpPr>
        <p:spPr bwMode="auto">
          <a:xfrm>
            <a:off x="9220200" y="533400"/>
            <a:ext cx="381000" cy="381000"/>
          </a:xfrm>
          <a:prstGeom prst="rect">
            <a:avLst/>
          </a:prstGeom>
          <a:solidFill>
            <a:schemeClr val="accent1"/>
          </a:solidFill>
          <a:ln>
            <a:noFill/>
          </a:ln>
        </p:spPr>
        <p:txBody>
          <a:bodyPr wrap="none" lIns="0" tIns="0" rIns="0" bIns="0" anchor="ctr" anchorCtr="1"/>
          <a:lstStyle>
            <a:lvl1pPr defTabSz="719138">
              <a:defRPr sz="2000">
                <a:solidFill>
                  <a:schemeClr val="tx1"/>
                </a:solidFill>
                <a:latin typeface="Arial" charset="0"/>
              </a:defRPr>
            </a:lvl1pPr>
            <a:lvl2pPr marL="742950" indent="-285750" defTabSz="719138">
              <a:defRPr sz="2000">
                <a:solidFill>
                  <a:schemeClr val="tx1"/>
                </a:solidFill>
                <a:latin typeface="Arial" charset="0"/>
              </a:defRPr>
            </a:lvl2pPr>
            <a:lvl3pPr marL="1143000" indent="-228600" defTabSz="719138">
              <a:defRPr sz="2000">
                <a:solidFill>
                  <a:schemeClr val="tx1"/>
                </a:solidFill>
                <a:latin typeface="Arial" charset="0"/>
              </a:defRPr>
            </a:lvl3pPr>
            <a:lvl4pPr marL="1600200" indent="-228600" defTabSz="719138">
              <a:defRPr sz="2000">
                <a:solidFill>
                  <a:schemeClr val="tx1"/>
                </a:solidFill>
                <a:latin typeface="Arial" charset="0"/>
              </a:defRPr>
            </a:lvl4pPr>
            <a:lvl5pPr marL="2057400" indent="-228600" defTabSz="719138">
              <a:defRPr sz="2000">
                <a:solidFill>
                  <a:schemeClr val="tx1"/>
                </a:solidFill>
                <a:latin typeface="Arial" charset="0"/>
              </a:defRPr>
            </a:lvl5pPr>
            <a:lvl6pPr marL="2514600" indent="-228600" defTabSz="719138" fontAlgn="base">
              <a:spcBef>
                <a:spcPct val="0"/>
              </a:spcBef>
              <a:spcAft>
                <a:spcPct val="0"/>
              </a:spcAft>
              <a:defRPr sz="2000">
                <a:solidFill>
                  <a:schemeClr val="tx1"/>
                </a:solidFill>
                <a:latin typeface="Arial" charset="0"/>
              </a:defRPr>
            </a:lvl6pPr>
            <a:lvl7pPr marL="2971800" indent="-228600" defTabSz="719138" fontAlgn="base">
              <a:spcBef>
                <a:spcPct val="0"/>
              </a:spcBef>
              <a:spcAft>
                <a:spcPct val="0"/>
              </a:spcAft>
              <a:defRPr sz="2000">
                <a:solidFill>
                  <a:schemeClr val="tx1"/>
                </a:solidFill>
                <a:latin typeface="Arial" charset="0"/>
              </a:defRPr>
            </a:lvl7pPr>
            <a:lvl8pPr marL="3429000" indent="-228600" defTabSz="719138" fontAlgn="base">
              <a:spcBef>
                <a:spcPct val="0"/>
              </a:spcBef>
              <a:spcAft>
                <a:spcPct val="0"/>
              </a:spcAft>
              <a:defRPr sz="2000">
                <a:solidFill>
                  <a:schemeClr val="tx1"/>
                </a:solidFill>
                <a:latin typeface="Arial" charset="0"/>
              </a:defRPr>
            </a:lvl8pPr>
            <a:lvl9pPr marL="3886200" indent="-228600" defTabSz="719138" fontAlgn="base">
              <a:spcBef>
                <a:spcPct val="0"/>
              </a:spcBef>
              <a:spcAft>
                <a:spcPct val="0"/>
              </a:spcAft>
              <a:defRPr sz="2000">
                <a:solidFill>
                  <a:schemeClr val="tx1"/>
                </a:solidFill>
                <a:latin typeface="Arial" charset="0"/>
              </a:defRPr>
            </a:lvl9pPr>
          </a:lstStyle>
          <a:p>
            <a:pPr algn="ctr" eaLnBrk="1" hangingPunct="1">
              <a:spcBef>
                <a:spcPct val="50000"/>
              </a:spcBef>
              <a:spcAft>
                <a:spcPct val="90000"/>
              </a:spcAft>
              <a:buClr>
                <a:srgbClr val="B2B2B2"/>
              </a:buClr>
              <a:buSzPct val="80000"/>
              <a:buFont typeface="Arial" charset="0"/>
              <a:buNone/>
            </a:pPr>
            <a:fld id="{FA2ECAE0-9562-42DD-8E8B-1D0537BF23DD}" type="slidenum">
              <a:rPr lang="en-US" altLang="en-US" sz="1600">
                <a:solidFill>
                  <a:schemeClr val="bg1"/>
                </a:solidFill>
                <a:latin typeface="Calibri" panose="020F0502020204030204" pitchFamily="34" charset="0"/>
                <a:cs typeface="Times New Roman" pitchFamily="18" charset="0"/>
              </a:rPr>
              <a:pPr algn="ctr" eaLnBrk="1" hangingPunct="1">
                <a:spcBef>
                  <a:spcPct val="50000"/>
                </a:spcBef>
                <a:spcAft>
                  <a:spcPct val="90000"/>
                </a:spcAft>
                <a:buClr>
                  <a:srgbClr val="B2B2B2"/>
                </a:buClr>
                <a:buSzPct val="80000"/>
                <a:buFont typeface="Arial" charset="0"/>
                <a:buNone/>
              </a:pPr>
              <a:t>‹#›</a:t>
            </a:fld>
            <a:endParaRPr lang="en-US" altLang="en-US" sz="1600" dirty="0">
              <a:solidFill>
                <a:schemeClr val="bg1"/>
              </a:solidFill>
              <a:latin typeface="Calibri" panose="020F0502020204030204" pitchFamily="34" charset="0"/>
              <a:cs typeface="Times New Roman" pitchFamily="18" charset="0"/>
            </a:endParaRPr>
          </a:p>
        </p:txBody>
      </p:sp>
    </p:spTree>
    <p:extLst>
      <p:ext uri="{BB962C8B-B14F-4D97-AF65-F5344CB8AC3E}">
        <p14:creationId xmlns:p14="http://schemas.microsoft.com/office/powerpoint/2010/main" val="411488256"/>
      </p:ext>
    </p:extLst>
  </p:cSld>
  <p:clrMap bg1="lt1" tx1="dk1" bg2="lt2" tx2="dk2" accent1="accent1" accent2="accent2" accent3="accent3" accent4="accent4" accent5="accent5" accent6="accent6" hlink="hlink" folHlink="folHlink"/>
  <p:sldLayoutIdLst>
    <p:sldLayoutId id="2147483695" r:id="rId1"/>
    <p:sldLayoutId id="2147483682" r:id="rId2"/>
    <p:sldLayoutId id="2147483699" r:id="rId3"/>
    <p:sldLayoutId id="2147483692" r:id="rId4"/>
    <p:sldLayoutId id="2147483683" r:id="rId5"/>
    <p:sldLayoutId id="2147483684" r:id="rId6"/>
    <p:sldLayoutId id="2147483706" r:id="rId7"/>
    <p:sldLayoutId id="2147483685" r:id="rId8"/>
    <p:sldLayoutId id="2147483707" r:id="rId9"/>
    <p:sldLayoutId id="2147483687" r:id="rId10"/>
    <p:sldLayoutId id="2147483700" r:id="rId11"/>
    <p:sldLayoutId id="2147483701" r:id="rId12"/>
    <p:sldLayoutId id="2147483703" r:id="rId13"/>
    <p:sldLayoutId id="2147483689" r:id="rId14"/>
    <p:sldLayoutId id="2147483697" r:id="rId15"/>
    <p:sldLayoutId id="2147483698" r:id="rId16"/>
    <p:sldLayoutId id="2147483704" r:id="rId17"/>
    <p:sldLayoutId id="2147483705" r:id="rId18"/>
    <p:sldLayoutId id="2147483694" r:id="rId19"/>
    <p:sldLayoutId id="2147483696" r:id="rId20"/>
  </p:sldLayoutIdLst>
  <p:transition spd="slow">
    <p:fade/>
  </p:transition>
  <p:hf sldNum="0" hdr="0" dt="0"/>
  <p:txStyles>
    <p:titleStyle>
      <a:lvl1pPr algn="l" defTabSz="1019175" rtl="0" eaLnBrk="1" fontAlgn="base" hangingPunct="1">
        <a:spcBef>
          <a:spcPct val="0"/>
        </a:spcBef>
        <a:spcAft>
          <a:spcPct val="0"/>
        </a:spcAft>
        <a:defRPr sz="2800" b="1">
          <a:solidFill>
            <a:schemeClr val="tx1"/>
          </a:solidFill>
          <a:latin typeface="+mj-lt"/>
          <a:ea typeface="+mj-ea"/>
          <a:cs typeface="+mj-cs"/>
        </a:defRPr>
      </a:lvl1pPr>
      <a:lvl2pPr algn="l" defTabSz="1019175" rtl="0" eaLnBrk="1" fontAlgn="base" hangingPunct="1">
        <a:spcBef>
          <a:spcPct val="0"/>
        </a:spcBef>
        <a:spcAft>
          <a:spcPct val="0"/>
        </a:spcAft>
        <a:defRPr sz="2200">
          <a:solidFill>
            <a:schemeClr val="tx1"/>
          </a:solidFill>
          <a:latin typeface="Georgia" pitchFamily="18" charset="0"/>
        </a:defRPr>
      </a:lvl2pPr>
      <a:lvl3pPr algn="l" defTabSz="1019175" rtl="0" eaLnBrk="1" fontAlgn="base" hangingPunct="1">
        <a:spcBef>
          <a:spcPct val="0"/>
        </a:spcBef>
        <a:spcAft>
          <a:spcPct val="0"/>
        </a:spcAft>
        <a:defRPr sz="2200">
          <a:solidFill>
            <a:schemeClr val="tx1"/>
          </a:solidFill>
          <a:latin typeface="Georgia" pitchFamily="18" charset="0"/>
        </a:defRPr>
      </a:lvl3pPr>
      <a:lvl4pPr algn="l" defTabSz="1019175" rtl="0" eaLnBrk="1" fontAlgn="base" hangingPunct="1">
        <a:spcBef>
          <a:spcPct val="0"/>
        </a:spcBef>
        <a:spcAft>
          <a:spcPct val="0"/>
        </a:spcAft>
        <a:defRPr sz="2200">
          <a:solidFill>
            <a:schemeClr val="tx1"/>
          </a:solidFill>
          <a:latin typeface="Georgia" pitchFamily="18" charset="0"/>
        </a:defRPr>
      </a:lvl4pPr>
      <a:lvl5pPr algn="l" defTabSz="1019175" rtl="0" eaLnBrk="1" fontAlgn="base" hangingPunct="1">
        <a:spcBef>
          <a:spcPct val="0"/>
        </a:spcBef>
        <a:spcAft>
          <a:spcPct val="0"/>
        </a:spcAft>
        <a:defRPr sz="2200">
          <a:solidFill>
            <a:schemeClr val="tx1"/>
          </a:solidFill>
          <a:latin typeface="Georgia" pitchFamily="18" charset="0"/>
        </a:defRPr>
      </a:lvl5pPr>
      <a:lvl6pPr marL="457200" algn="l" defTabSz="1019175" rtl="0" eaLnBrk="1" fontAlgn="base" hangingPunct="1">
        <a:spcBef>
          <a:spcPct val="0"/>
        </a:spcBef>
        <a:spcAft>
          <a:spcPct val="0"/>
        </a:spcAft>
        <a:defRPr sz="2200">
          <a:solidFill>
            <a:schemeClr val="tx1"/>
          </a:solidFill>
          <a:latin typeface="Georgia" pitchFamily="18" charset="0"/>
        </a:defRPr>
      </a:lvl6pPr>
      <a:lvl7pPr marL="914400" algn="l" defTabSz="1019175" rtl="0" eaLnBrk="1" fontAlgn="base" hangingPunct="1">
        <a:spcBef>
          <a:spcPct val="0"/>
        </a:spcBef>
        <a:spcAft>
          <a:spcPct val="0"/>
        </a:spcAft>
        <a:defRPr sz="2200">
          <a:solidFill>
            <a:schemeClr val="tx1"/>
          </a:solidFill>
          <a:latin typeface="Georgia" pitchFamily="18" charset="0"/>
        </a:defRPr>
      </a:lvl7pPr>
      <a:lvl8pPr marL="1371600" algn="l" defTabSz="1019175" rtl="0" eaLnBrk="1" fontAlgn="base" hangingPunct="1">
        <a:spcBef>
          <a:spcPct val="0"/>
        </a:spcBef>
        <a:spcAft>
          <a:spcPct val="0"/>
        </a:spcAft>
        <a:defRPr sz="2200">
          <a:solidFill>
            <a:schemeClr val="tx1"/>
          </a:solidFill>
          <a:latin typeface="Georgia" pitchFamily="18" charset="0"/>
        </a:defRPr>
      </a:lvl8pPr>
      <a:lvl9pPr marL="1828800" algn="l" defTabSz="1019175" rtl="0" eaLnBrk="1" fontAlgn="base" hangingPunct="1">
        <a:spcBef>
          <a:spcPct val="0"/>
        </a:spcBef>
        <a:spcAft>
          <a:spcPct val="0"/>
        </a:spcAft>
        <a:defRPr sz="2200">
          <a:solidFill>
            <a:schemeClr val="tx1"/>
          </a:solidFill>
          <a:latin typeface="Georgia" pitchFamily="18" charset="0"/>
        </a:defRPr>
      </a:lvl9pPr>
    </p:titleStyle>
    <p:body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hyperlink" Target="https://www.medicaid.gov/Medicaid-CHIP-Program-Information/By-Topics/Waivers/1115/downloads/ut/per-capita-cap/utper-capita-cap-correspondence-ltr-20190816.pdf"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hyperlink" Target="https://budget.lis.virginia.gov/item/2018/2/HB5002/Chapter/1/303" TargetMode="External"/><Relationship Id="rId5" Type="http://schemas.openxmlformats.org/officeDocument/2006/relationships/hyperlink" Target="https://www.cms.gov/CCIIO/Programs-and-Initiatives/State-Innovation-Waivers/Downloads/Idaho-Notice-of-Preliminary-Determination-of-Incompleteness.pdf" TargetMode="External"/><Relationship Id="rId4" Type="http://schemas.openxmlformats.org/officeDocument/2006/relationships/hyperlink" Target="https://www.cms.gov/newsroom/press-releases/cms-statement-partial-medicaid-expansion-policy"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3.xml"/><Relationship Id="rId16" Type="http://schemas.openxmlformats.org/officeDocument/2006/relationships/diagramColors" Target="../diagrams/colors3.xml"/><Relationship Id="rId1" Type="http://schemas.openxmlformats.org/officeDocument/2006/relationships/slideLayout" Target="../slideLayouts/slideLayout4.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2286000"/>
            <a:ext cx="7315200" cy="2391014"/>
          </a:xfrm>
        </p:spPr>
        <p:txBody>
          <a:bodyPr>
            <a:normAutofit/>
          </a:bodyPr>
          <a:lstStyle/>
          <a:p>
            <a:r>
              <a:rPr lang="en-US" dirty="0"/>
              <a:t>Coverage Components of</a:t>
            </a:r>
            <a:br>
              <a:rPr lang="en-US" dirty="0"/>
            </a:br>
            <a:r>
              <a:rPr lang="en-US" dirty="0"/>
              <a:t>Senate and House Proposals to </a:t>
            </a:r>
            <a:br>
              <a:rPr lang="en-US" dirty="0"/>
            </a:br>
            <a:r>
              <a:rPr lang="en-US" dirty="0"/>
              <a:t>Expand Medicaid in Kansas</a:t>
            </a:r>
          </a:p>
        </p:txBody>
      </p:sp>
      <p:sp>
        <p:nvSpPr>
          <p:cNvPr id="3" name="Text Placeholder 2"/>
          <p:cNvSpPr>
            <a:spLocks noGrp="1"/>
          </p:cNvSpPr>
          <p:nvPr>
            <p:ph type="body" sz="quarter" idx="10"/>
          </p:nvPr>
        </p:nvSpPr>
        <p:spPr/>
        <p:txBody>
          <a:bodyPr/>
          <a:lstStyle/>
          <a:p>
            <a:r>
              <a:rPr lang="en-US" dirty="0"/>
              <a:t>Medicaid Expansion Council Meeting</a:t>
            </a:r>
          </a:p>
          <a:p>
            <a:r>
              <a:rPr lang="en-US" dirty="0"/>
              <a:t>December 12, 2019</a:t>
            </a:r>
          </a:p>
        </p:txBody>
      </p:sp>
    </p:spTree>
    <p:extLst>
      <p:ext uri="{BB962C8B-B14F-4D97-AF65-F5344CB8AC3E}">
        <p14:creationId xmlns:p14="http://schemas.microsoft.com/office/powerpoint/2010/main" val="1296713513"/>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tential Approach to Ensure Timely Implementation</a:t>
            </a:r>
          </a:p>
        </p:txBody>
      </p:sp>
      <p:sp>
        <p:nvSpPr>
          <p:cNvPr id="3" name="Footer Placeholder 2"/>
          <p:cNvSpPr>
            <a:spLocks noGrp="1"/>
          </p:cNvSpPr>
          <p:nvPr>
            <p:ph type="ftr" sz="quarter" idx="10"/>
          </p:nvPr>
        </p:nvSpPr>
        <p:spPr/>
        <p:txBody>
          <a:bodyPr/>
          <a:lstStyle/>
          <a:p>
            <a:r>
              <a:rPr lang="en-US" altLang="en-US" dirty="0"/>
              <a:t>Medicaid Expansion Council Meeting | Kansas Expansion</a:t>
            </a:r>
          </a:p>
        </p:txBody>
      </p:sp>
      <p:sp>
        <p:nvSpPr>
          <p:cNvPr id="5" name="Content Placeholder 4"/>
          <p:cNvSpPr>
            <a:spLocks noGrp="1"/>
          </p:cNvSpPr>
          <p:nvPr>
            <p:ph sz="quarter" idx="11"/>
          </p:nvPr>
        </p:nvSpPr>
        <p:spPr>
          <a:xfrm>
            <a:off x="457200" y="1219200"/>
            <a:ext cx="9144000" cy="1143000"/>
          </a:xfrm>
        </p:spPr>
        <p:txBody>
          <a:bodyPr/>
          <a:lstStyle/>
          <a:p>
            <a:pPr marL="346075" indent="-346075">
              <a:buFont typeface="Wingdings" panose="05000000000000000000" pitchFamily="2" charset="2"/>
              <a:buChar char="ü"/>
            </a:pPr>
            <a:r>
              <a:rPr lang="en-US" dirty="0"/>
              <a:t>Allow the Department of Health &amp; Environment to begin implementing expanded coverage once CMS approves the SPA (waiver approval would follow). </a:t>
            </a:r>
          </a:p>
          <a:p>
            <a:pPr marL="331787" lvl="1" indent="0">
              <a:buNone/>
            </a:pPr>
            <a:endParaRPr lang="en-US" dirty="0"/>
          </a:p>
          <a:p>
            <a:pPr marL="331787" lvl="1" indent="0">
              <a:buNone/>
            </a:pPr>
            <a:endParaRPr lang="en-US" dirty="0"/>
          </a:p>
        </p:txBody>
      </p:sp>
      <p:sp>
        <p:nvSpPr>
          <p:cNvPr id="6" name="TextBox 5"/>
          <p:cNvSpPr txBox="1"/>
          <p:nvPr/>
        </p:nvSpPr>
        <p:spPr>
          <a:xfrm>
            <a:off x="1143000" y="2660094"/>
            <a:ext cx="7543800" cy="3166824"/>
          </a:xfrm>
          <a:prstGeom prst="roundRect">
            <a:avLst/>
          </a:prstGeom>
          <a:solidFill>
            <a:schemeClr val="bg2">
              <a:lumMod val="20000"/>
              <a:lumOff val="80000"/>
            </a:schemeClr>
          </a:solidFill>
        </p:spPr>
        <p:style>
          <a:lnRef idx="2">
            <a:schemeClr val="accent2"/>
          </a:lnRef>
          <a:fillRef idx="1">
            <a:schemeClr val="lt1"/>
          </a:fillRef>
          <a:effectRef idx="0">
            <a:schemeClr val="accent2"/>
          </a:effectRef>
          <a:fontRef idx="minor">
            <a:schemeClr val="dk1"/>
          </a:fontRef>
        </p:style>
        <p:txBody>
          <a:bodyPr wrap="square" rtlCol="0">
            <a:spAutoFit/>
          </a:bodyPr>
          <a:lstStyle/>
          <a:p>
            <a:pPr marL="0" lvl="1"/>
            <a:r>
              <a:rPr lang="en-US" sz="2000" dirty="0">
                <a:latin typeface="+mj-lt"/>
              </a:rPr>
              <a:t>Other states where expansions contemplate 1115 waivers have taken a similar approach. Virginia’s authorizing legislation</a:t>
            </a:r>
            <a:r>
              <a:rPr lang="en-US" sz="2000" baseline="30000" dirty="0">
                <a:latin typeface="+mj-lt"/>
              </a:rPr>
              <a:t>6</a:t>
            </a:r>
            <a:r>
              <a:rPr lang="en-US" sz="2000" dirty="0">
                <a:latin typeface="+mj-lt"/>
              </a:rPr>
              <a:t> for its Medicaid expansion program provides as follows:</a:t>
            </a:r>
          </a:p>
          <a:p>
            <a:pPr marL="0" lvl="1"/>
            <a:endParaRPr lang="en-US" sz="2000" dirty="0">
              <a:latin typeface="+mj-lt"/>
            </a:endParaRPr>
          </a:p>
          <a:p>
            <a:pPr marL="0" lvl="1"/>
            <a:r>
              <a:rPr lang="en-US" sz="2000" dirty="0">
                <a:latin typeface="+mj-lt"/>
              </a:rPr>
              <a:t>“[The Virginia Department of Medical Assistance Services] shall submit the § 1115 demonstration waiver application to CMS for approval. </a:t>
            </a:r>
            <a:r>
              <a:rPr lang="en-US" sz="2000" i="1" dirty="0">
                <a:latin typeface="+mj-lt"/>
              </a:rPr>
              <a:t>If the State Plan amendments are affirmatively approved by CMS prior to the submission of the waiver, Medicaid coverage for newly eligible individuals may be implemented</a:t>
            </a:r>
            <a:r>
              <a:rPr lang="en-US" sz="2000" dirty="0">
                <a:latin typeface="+mj-lt"/>
              </a:rPr>
              <a:t>.”</a:t>
            </a:r>
          </a:p>
        </p:txBody>
      </p:sp>
    </p:spTree>
    <p:extLst>
      <p:ext uri="{BB962C8B-B14F-4D97-AF65-F5344CB8AC3E}">
        <p14:creationId xmlns:p14="http://schemas.microsoft.com/office/powerpoint/2010/main" val="2906726103"/>
      </p:ext>
    </p:ext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Notes</a:t>
            </a:r>
          </a:p>
        </p:txBody>
      </p:sp>
      <p:sp>
        <p:nvSpPr>
          <p:cNvPr id="2" name="Footer Placeholder 1"/>
          <p:cNvSpPr>
            <a:spLocks noGrp="1"/>
          </p:cNvSpPr>
          <p:nvPr>
            <p:ph type="ftr" sz="quarter" idx="10"/>
          </p:nvPr>
        </p:nvSpPr>
        <p:spPr/>
        <p:txBody>
          <a:bodyPr/>
          <a:lstStyle/>
          <a:p>
            <a:r>
              <a:rPr lang="en-US" altLang="en-US" dirty="0"/>
              <a:t>Medicaid Expansion Council Meeting | Kansas Expansion</a:t>
            </a:r>
          </a:p>
        </p:txBody>
      </p:sp>
      <p:sp>
        <p:nvSpPr>
          <p:cNvPr id="5" name="Content Placeholder 4"/>
          <p:cNvSpPr>
            <a:spLocks noGrp="1"/>
          </p:cNvSpPr>
          <p:nvPr>
            <p:ph sz="quarter" idx="11"/>
          </p:nvPr>
        </p:nvSpPr>
        <p:spPr>
          <a:xfrm>
            <a:off x="457200" y="1066800"/>
            <a:ext cx="9144000" cy="5715000"/>
          </a:xfrm>
        </p:spPr>
        <p:txBody>
          <a:bodyPr/>
          <a:lstStyle/>
          <a:p>
            <a:pPr marL="457200" indent="-457200">
              <a:buFont typeface="+mj-lt"/>
              <a:buAutoNum type="arabicPeriod"/>
            </a:pPr>
            <a:r>
              <a:rPr lang="en-US" sz="1100" dirty="0"/>
              <a:t>The Senate Committee Draft could be read to permit (1) a sequential submission of the necessary waiver requests for the three coverage approaches or (2) an initial waiver request that outlines all three potential coverage approaches. The latter strategy would likely only be available for an 1115 waiver application, since it appears a new 1332 waiver submission would be needed to request choice (the second coverage approach) from CMS. This is because asking for choice, rather than just reinsurance, would require CMS to waive different federal requirements and require the state to conduct a new actuarial analysis. </a:t>
            </a:r>
            <a:endParaRPr lang="en-US" sz="1100" b="1" i="1" dirty="0"/>
          </a:p>
          <a:p>
            <a:pPr marL="457200" indent="-457200">
              <a:buFont typeface="+mj-lt"/>
              <a:buAutoNum type="arabicPeriod"/>
            </a:pPr>
            <a:r>
              <a:rPr lang="en-US" sz="1100" dirty="0"/>
              <a:t>CMS rejected Utah’s request to receive the enhanced federal match rate available under Medicaid expansion to cover individuals only up to 100% of the Federal Poverty Level (FPL) and subsequently announced this policy more generally. </a:t>
            </a:r>
            <a:r>
              <a:rPr lang="en-US" sz="1100" i="1" dirty="0"/>
              <a:t>See</a:t>
            </a:r>
            <a:r>
              <a:rPr lang="en-US" sz="1100" dirty="0"/>
              <a:t> CMS, Letter to Governor Gary R. Herbert (Aug. 16, 2019), </a:t>
            </a:r>
            <a:r>
              <a:rPr lang="en-US" sz="1100" dirty="0">
                <a:hlinkClick r:id="rId3"/>
              </a:rPr>
              <a:t>https://www.medicaid.gov/Medicaid-CHIP-Program-Information/By-Topics/Waivers/1115/downloads/ut/per-capita-cap/utper-capita-cap-correspondence-ltr-20190816.pdf</a:t>
            </a:r>
            <a:r>
              <a:rPr lang="en-US" sz="1100" dirty="0"/>
              <a:t>; </a:t>
            </a:r>
            <a:r>
              <a:rPr lang="en-US" sz="1100" i="1" dirty="0"/>
              <a:t>see also </a:t>
            </a:r>
            <a:r>
              <a:rPr lang="en-US" sz="1100" dirty="0"/>
              <a:t>CMS, Statement on Partial Medicaid Expansion Policy (Jul. 29, 2019), </a:t>
            </a:r>
            <a:r>
              <a:rPr lang="en-US" sz="1100" dirty="0">
                <a:hlinkClick r:id="rId4"/>
              </a:rPr>
              <a:t>https://www.cms.gov/newsroom/press-releases/cms-statement-partial-medicaid-expansion-policy</a:t>
            </a:r>
            <a:r>
              <a:rPr lang="en-US" sz="1100" dirty="0"/>
              <a:t>. </a:t>
            </a:r>
          </a:p>
          <a:p>
            <a:pPr marL="457200" indent="-457200">
              <a:buFont typeface="+mj-lt"/>
              <a:buAutoNum type="arabicPeriod"/>
            </a:pPr>
            <a:r>
              <a:rPr lang="en-US" sz="1100" dirty="0"/>
              <a:t>Outcome D is unlikely: CMS’s narrow window (180 days) to make a determination on 1332 waiver requests suggests the federal government may reach a decision on the state’s 1332 waiver application first. However, if this scenario does occur, the Senate bill allows Kansas to begin implementing expansion if an 1115 waiver application is approved while the state awaits a decision on a 1332 waiver request. </a:t>
            </a:r>
            <a:r>
              <a:rPr lang="en-US" sz="1100" i="1" dirty="0"/>
              <a:t>See</a:t>
            </a:r>
            <a:r>
              <a:rPr lang="en-US" sz="1100" dirty="0"/>
              <a:t> § 2(c)(1)(B). Though the language is ambiguous, it is possible the Senate Committee Draft </a:t>
            </a:r>
            <a:r>
              <a:rPr lang="en-US" sz="1100" i="1" dirty="0"/>
              <a:t>requires</a:t>
            </a:r>
            <a:r>
              <a:rPr lang="en-US" sz="1100" dirty="0"/>
              <a:t> Kansas to begin this implementation if an 1115 waiver is approved on or after January 1, 2021, since the bill provides that Medicaid coverage “shall be granted” to eligible adults on and after that date “subject to all requirements and limitations established” in the bill. </a:t>
            </a:r>
            <a:r>
              <a:rPr lang="en-US" sz="1100" i="1" dirty="0"/>
              <a:t>See</a:t>
            </a:r>
            <a:r>
              <a:rPr lang="en-US" sz="1100" dirty="0"/>
              <a:t> § 2(b). </a:t>
            </a:r>
          </a:p>
          <a:p>
            <a:pPr marL="457200" indent="-457200">
              <a:buFont typeface="+mj-lt"/>
              <a:buAutoNum type="arabicPeriod"/>
            </a:pPr>
            <a:r>
              <a:rPr lang="en-US" sz="1100" dirty="0"/>
              <a:t>Idaho requested a 1332 waiver to allow individuals with incomes between 100% and 138% FPL to choose between Medicaid and subsidized Marketplace coverage. In response, CMS replied that the state’s request would “not be approvable” because the state could not demonstrate compliance with the statutory guardrails for 1332 waivers, particularly the requirement for deficit neutrality. </a:t>
            </a:r>
            <a:r>
              <a:rPr lang="en-US" sz="1100" i="1" dirty="0"/>
              <a:t>See </a:t>
            </a:r>
            <a:r>
              <a:rPr lang="en-US" sz="1100" dirty="0"/>
              <a:t>CMS, Letter to Dean Cameron, Director, Idaho Department of Insurance (Aug. 29, 2019), </a:t>
            </a:r>
            <a:r>
              <a:rPr lang="en-US" sz="1100" dirty="0">
                <a:hlinkClick r:id="rId5"/>
              </a:rPr>
              <a:t>https://www.cms.gov/CCIIO/Programs-and-Initiatives/State-Innovation-Waivers/Downloads/Idaho-Notice-of-Preliminary-Determination-of-Incompleteness.pdf</a:t>
            </a:r>
            <a:r>
              <a:rPr lang="en-US" sz="1100" dirty="0"/>
              <a:t>. To the extent Kansas’s proposal for choice is different from Idaho’s, CMS may make a different determination.</a:t>
            </a:r>
          </a:p>
          <a:p>
            <a:pPr marL="457200" indent="-457200">
              <a:buFont typeface="+mj-lt"/>
              <a:buAutoNum type="arabicPeriod"/>
            </a:pPr>
            <a:r>
              <a:rPr lang="en-US" sz="1100" dirty="0">
                <a:solidFill>
                  <a:sysClr val="windowText" lastClr="000000"/>
                </a:solidFill>
              </a:rPr>
              <a:t>While the </a:t>
            </a:r>
            <a:r>
              <a:rPr lang="en-US" sz="1100" dirty="0"/>
              <a:t>text of HB 2066 refers to an income limit of 133% FPL for the expansion population, the </a:t>
            </a:r>
            <a:r>
              <a:rPr lang="en-US" sz="1100" i="1" dirty="0"/>
              <a:t>effective</a:t>
            </a:r>
            <a:r>
              <a:rPr lang="en-US" sz="1100" dirty="0"/>
              <a:t> income limit will be 138% FPL due to a 5% income disregard. </a:t>
            </a:r>
            <a:r>
              <a:rPr lang="en-US" sz="1100" i="1" dirty="0"/>
              <a:t>See </a:t>
            </a:r>
            <a:r>
              <a:rPr lang="en-US" sz="1100" dirty="0"/>
              <a:t>Social Security Act § 1902(e)(14)(I)(i). Because the Senate Committee Draft refers to</a:t>
            </a:r>
            <a:r>
              <a:rPr lang="en-US" sz="1100" dirty="0">
                <a:solidFill>
                  <a:sysClr val="windowText" lastClr="000000"/>
                </a:solidFill>
              </a:rPr>
              <a:t> an income limit of 138% FPL, we have used the effective income limit of 138% FPL when discussing the House legislation for consistency.</a:t>
            </a:r>
          </a:p>
          <a:p>
            <a:pPr marL="457200" indent="-457200">
              <a:buFont typeface="+mj-lt"/>
              <a:buAutoNum type="arabicPeriod"/>
            </a:pPr>
            <a:r>
              <a:rPr lang="en-US" sz="1100" dirty="0">
                <a:solidFill>
                  <a:sysClr val="windowText" lastClr="000000"/>
                </a:solidFill>
              </a:rPr>
              <a:t>Virginia 2018-2020 Biennium Budget (HB 5002), Item 303, Section SS(4)(a), </a:t>
            </a:r>
            <a:r>
              <a:rPr lang="en-US" sz="1100" dirty="0">
                <a:hlinkClick r:id="rId6"/>
              </a:rPr>
              <a:t>https://budget.lis.virginia.gov/item/2018/2/HB5002/Chapter/1/303</a:t>
            </a:r>
            <a:r>
              <a:rPr lang="en-US" sz="1100" dirty="0"/>
              <a:t>.</a:t>
            </a:r>
            <a:endParaRPr lang="en-US" sz="1100" dirty="0">
              <a:solidFill>
                <a:sysClr val="windowText" lastClr="000000"/>
              </a:solidFill>
            </a:endParaRPr>
          </a:p>
        </p:txBody>
      </p:sp>
    </p:spTree>
    <p:extLst>
      <p:ext uri="{BB962C8B-B14F-4D97-AF65-F5344CB8AC3E}">
        <p14:creationId xmlns:p14="http://schemas.microsoft.com/office/powerpoint/2010/main" val="2751343614"/>
      </p:ext>
    </p:ext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ltLang="en-US" dirty="0"/>
              <a:t>Medicaid Expansion Council Meeting | Kansas Expansion</a:t>
            </a:r>
          </a:p>
        </p:txBody>
      </p:sp>
      <p:sp>
        <p:nvSpPr>
          <p:cNvPr id="5" name="Title 4"/>
          <p:cNvSpPr>
            <a:spLocks noGrp="1"/>
          </p:cNvSpPr>
          <p:nvPr>
            <p:ph type="title"/>
          </p:nvPr>
        </p:nvSpPr>
        <p:spPr/>
        <p:txBody>
          <a:bodyPr/>
          <a:lstStyle/>
          <a:p>
            <a:r>
              <a:rPr lang="en-US" dirty="0"/>
              <a:t>Appendix</a:t>
            </a:r>
          </a:p>
        </p:txBody>
      </p:sp>
    </p:spTree>
    <p:extLst>
      <p:ext uri="{BB962C8B-B14F-4D97-AF65-F5344CB8AC3E}">
        <p14:creationId xmlns:p14="http://schemas.microsoft.com/office/powerpoint/2010/main" val="3103078459"/>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1115 Waiver Submission and Decision Timeline</a:t>
            </a:r>
          </a:p>
        </p:txBody>
      </p:sp>
      <p:sp>
        <p:nvSpPr>
          <p:cNvPr id="43" name="Footer Placeholder 3"/>
          <p:cNvSpPr>
            <a:spLocks noGrp="1"/>
          </p:cNvSpPr>
          <p:nvPr>
            <p:ph type="ftr" sz="quarter" idx="10"/>
          </p:nvPr>
        </p:nvSpPr>
        <p:spPr/>
        <p:txBody>
          <a:bodyPr/>
          <a:lstStyle/>
          <a:p>
            <a:r>
              <a:rPr lang="en-US" dirty="0"/>
              <a:t>Medicaid Expansion Council Meeting | Kansas Expansion</a:t>
            </a:r>
            <a:endParaRPr lang="en-US" altLang="en-US" dirty="0">
              <a:solidFill>
                <a:srgbClr val="FFFFFF"/>
              </a:solidFill>
            </a:endParaRPr>
          </a:p>
        </p:txBody>
      </p:sp>
      <p:sp>
        <p:nvSpPr>
          <p:cNvPr id="70" name="Text Placeholder 69"/>
          <p:cNvSpPr>
            <a:spLocks noGrp="1"/>
          </p:cNvSpPr>
          <p:nvPr>
            <p:ph type="body" sz="quarter" idx="11"/>
          </p:nvPr>
        </p:nvSpPr>
        <p:spPr>
          <a:xfrm>
            <a:off x="457200" y="6443399"/>
            <a:ext cx="9144000" cy="414601"/>
          </a:xfrm>
        </p:spPr>
        <p:txBody>
          <a:bodyPr/>
          <a:lstStyle/>
          <a:p>
            <a:r>
              <a:rPr lang="en-US" dirty="0"/>
              <a:t>Notes: </a:t>
            </a:r>
            <a:r>
              <a:rPr lang="en-US" dirty="0">
                <a:solidFill>
                  <a:srgbClr val="000000"/>
                </a:solidFill>
              </a:rPr>
              <a:t>The timeline above reflects changes that the Affordable Care Act (ACA) made to the Section 1115 waiver approval process, requiring more transparency and public input on these waivers. In April 2012, CMS updated the review process for Section 1115 in accordance with Section 10201(i) of the ACA.</a:t>
            </a:r>
          </a:p>
        </p:txBody>
      </p:sp>
      <p:sp>
        <p:nvSpPr>
          <p:cNvPr id="4" name="Left-Right Arrow 3"/>
          <p:cNvSpPr/>
          <p:nvPr/>
        </p:nvSpPr>
        <p:spPr bwMode="auto">
          <a:xfrm>
            <a:off x="-34184" y="2574438"/>
            <a:ext cx="9829801" cy="457596"/>
          </a:xfrm>
          <a:prstGeom prst="leftRightArrow">
            <a:avLst/>
          </a:prstGeom>
          <a:solidFill>
            <a:srgbClr val="336699"/>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grpSp>
        <p:nvGrpSpPr>
          <p:cNvPr id="19" name="Group 18"/>
          <p:cNvGrpSpPr/>
          <p:nvPr/>
        </p:nvGrpSpPr>
        <p:grpSpPr>
          <a:xfrm>
            <a:off x="827020" y="2051948"/>
            <a:ext cx="1095297" cy="597011"/>
            <a:chOff x="693568" y="1725677"/>
            <a:chExt cx="1487034" cy="526774"/>
          </a:xfrm>
        </p:grpSpPr>
        <p:sp>
          <p:nvSpPr>
            <p:cNvPr id="13" name="Right Brace 12"/>
            <p:cNvSpPr/>
            <p:nvPr/>
          </p:nvSpPr>
          <p:spPr bwMode="auto">
            <a:xfrm rot="16200000">
              <a:off x="1180772" y="1238473"/>
              <a:ext cx="512625" cy="1487034"/>
            </a:xfrm>
            <a:prstGeom prst="rightBrace">
              <a:avLst>
                <a:gd name="adj1" fmla="val 31410"/>
                <a:gd name="adj2" fmla="val 50000"/>
              </a:avLst>
            </a:prstGeom>
            <a:solidFill>
              <a:srgbClr val="FFC000"/>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sp>
          <p:nvSpPr>
            <p:cNvPr id="14" name="TextBox 13"/>
            <p:cNvSpPr txBox="1"/>
            <p:nvPr/>
          </p:nvSpPr>
          <p:spPr>
            <a:xfrm>
              <a:off x="703888" y="1980883"/>
              <a:ext cx="1466391" cy="271568"/>
            </a:xfrm>
            <a:prstGeom prst="rect">
              <a:avLst/>
            </a:prstGeom>
            <a:noFill/>
          </p:spPr>
          <p:txBody>
            <a:bodyPr wrap="square" rtlCol="0">
              <a:spAutoFit/>
            </a:bodyPr>
            <a:lstStyle/>
            <a:p>
              <a:pPr algn="ctr" defTabSz="1010286"/>
              <a:r>
                <a:rPr lang="en-US" sz="1400" dirty="0"/>
                <a:t>≥ </a:t>
              </a:r>
              <a:r>
                <a:rPr lang="en-US" sz="1400" b="1" dirty="0">
                  <a:solidFill>
                    <a:srgbClr val="000000"/>
                  </a:solidFill>
                  <a:latin typeface="Calibri"/>
                </a:rPr>
                <a:t>30 days</a:t>
              </a:r>
            </a:p>
          </p:txBody>
        </p:sp>
      </p:grpSp>
      <p:grpSp>
        <p:nvGrpSpPr>
          <p:cNvPr id="20" name="Group 19"/>
          <p:cNvGrpSpPr/>
          <p:nvPr/>
        </p:nvGrpSpPr>
        <p:grpSpPr>
          <a:xfrm>
            <a:off x="2034813" y="2059971"/>
            <a:ext cx="1193823" cy="600260"/>
            <a:chOff x="131174" y="1705311"/>
            <a:chExt cx="1574247" cy="529641"/>
          </a:xfrm>
        </p:grpSpPr>
        <p:sp>
          <p:nvSpPr>
            <p:cNvPr id="21" name="Right Brace 20"/>
            <p:cNvSpPr/>
            <p:nvPr/>
          </p:nvSpPr>
          <p:spPr bwMode="auto">
            <a:xfrm rot="16200000">
              <a:off x="657641" y="1178844"/>
              <a:ext cx="512625" cy="1565559"/>
            </a:xfrm>
            <a:prstGeom prst="rightBrace">
              <a:avLst>
                <a:gd name="adj1" fmla="val 31410"/>
                <a:gd name="adj2" fmla="val 50000"/>
              </a:avLst>
            </a:prstGeom>
            <a:solidFill>
              <a:srgbClr val="FFC000"/>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sp>
          <p:nvSpPr>
            <p:cNvPr id="22" name="TextBox 21"/>
            <p:cNvSpPr txBox="1"/>
            <p:nvPr/>
          </p:nvSpPr>
          <p:spPr>
            <a:xfrm>
              <a:off x="131174" y="1963384"/>
              <a:ext cx="1574247" cy="271568"/>
            </a:xfrm>
            <a:prstGeom prst="rect">
              <a:avLst/>
            </a:prstGeom>
            <a:noFill/>
          </p:spPr>
          <p:txBody>
            <a:bodyPr wrap="square" rtlCol="0">
              <a:spAutoFit/>
            </a:bodyPr>
            <a:lstStyle/>
            <a:p>
              <a:pPr algn="ctr" defTabSz="1010286"/>
              <a:r>
                <a:rPr lang="en-US" sz="1400" b="1" dirty="0">
                  <a:solidFill>
                    <a:srgbClr val="000000"/>
                  </a:solidFill>
                  <a:latin typeface="Calibri"/>
                </a:rPr>
                <a:t>30 days</a:t>
              </a:r>
            </a:p>
          </p:txBody>
        </p:sp>
      </p:grpSp>
      <p:grpSp>
        <p:nvGrpSpPr>
          <p:cNvPr id="23" name="Group 22"/>
          <p:cNvGrpSpPr/>
          <p:nvPr/>
        </p:nvGrpSpPr>
        <p:grpSpPr>
          <a:xfrm>
            <a:off x="5451275" y="2068626"/>
            <a:ext cx="1101925" cy="580975"/>
            <a:chOff x="415639" y="1725679"/>
            <a:chExt cx="1422595" cy="512625"/>
          </a:xfrm>
        </p:grpSpPr>
        <p:sp>
          <p:nvSpPr>
            <p:cNvPr id="24" name="Right Brace 23"/>
            <p:cNvSpPr/>
            <p:nvPr/>
          </p:nvSpPr>
          <p:spPr bwMode="auto">
            <a:xfrm rot="16200000">
              <a:off x="870624" y="1270694"/>
              <a:ext cx="512625" cy="1422595"/>
            </a:xfrm>
            <a:prstGeom prst="rightBrace">
              <a:avLst>
                <a:gd name="adj1" fmla="val 31410"/>
                <a:gd name="adj2" fmla="val 50000"/>
              </a:avLst>
            </a:prstGeom>
            <a:solidFill>
              <a:srgbClr val="FFC000"/>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sp>
          <p:nvSpPr>
            <p:cNvPr id="25" name="TextBox 24"/>
            <p:cNvSpPr txBox="1"/>
            <p:nvPr/>
          </p:nvSpPr>
          <p:spPr>
            <a:xfrm>
              <a:off x="496031" y="1963296"/>
              <a:ext cx="1342202" cy="271568"/>
            </a:xfrm>
            <a:prstGeom prst="rect">
              <a:avLst/>
            </a:prstGeom>
            <a:noFill/>
          </p:spPr>
          <p:txBody>
            <a:bodyPr wrap="square" rtlCol="0">
              <a:spAutoFit/>
            </a:bodyPr>
            <a:lstStyle/>
            <a:p>
              <a:pPr algn="ctr" defTabSz="1010286"/>
              <a:r>
                <a:rPr lang="en-US" sz="1400" b="1" dirty="0">
                  <a:solidFill>
                    <a:srgbClr val="000000"/>
                  </a:solidFill>
                  <a:latin typeface="Calibri"/>
                </a:rPr>
                <a:t>30 days</a:t>
              </a:r>
            </a:p>
          </p:txBody>
        </p:sp>
      </p:grpSp>
      <p:sp>
        <p:nvSpPr>
          <p:cNvPr id="27" name="Right Brace 26"/>
          <p:cNvSpPr/>
          <p:nvPr/>
        </p:nvSpPr>
        <p:spPr bwMode="auto">
          <a:xfrm rot="16200000">
            <a:off x="4586313" y="1978114"/>
            <a:ext cx="580975" cy="761999"/>
          </a:xfrm>
          <a:prstGeom prst="rightBrace">
            <a:avLst>
              <a:gd name="adj1" fmla="val 31410"/>
              <a:gd name="adj2" fmla="val 50000"/>
            </a:avLst>
          </a:prstGeom>
          <a:solidFill>
            <a:srgbClr val="FFC000"/>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sp>
        <p:nvSpPr>
          <p:cNvPr id="28" name="TextBox 27"/>
          <p:cNvSpPr txBox="1"/>
          <p:nvPr/>
        </p:nvSpPr>
        <p:spPr>
          <a:xfrm>
            <a:off x="4413343" y="2341306"/>
            <a:ext cx="934749" cy="317470"/>
          </a:xfrm>
          <a:prstGeom prst="rect">
            <a:avLst/>
          </a:prstGeom>
          <a:noFill/>
        </p:spPr>
        <p:txBody>
          <a:bodyPr wrap="square" lIns="101028" tIns="50520" rIns="101028" bIns="50520" rtlCol="0">
            <a:spAutoFit/>
          </a:bodyPr>
          <a:lstStyle/>
          <a:p>
            <a:pPr algn="ctr" defTabSz="1010286"/>
            <a:r>
              <a:rPr lang="en-US" sz="1400" b="1" dirty="0">
                <a:solidFill>
                  <a:srgbClr val="000000"/>
                </a:solidFill>
                <a:latin typeface="Calibri"/>
              </a:rPr>
              <a:t>15 days</a:t>
            </a:r>
          </a:p>
        </p:txBody>
      </p:sp>
      <p:sp>
        <p:nvSpPr>
          <p:cNvPr id="31" name="Rectangle 30"/>
          <p:cNvSpPr/>
          <p:nvPr/>
        </p:nvSpPr>
        <p:spPr bwMode="auto">
          <a:xfrm>
            <a:off x="722516" y="2518613"/>
            <a:ext cx="104504" cy="457596"/>
          </a:xfrm>
          <a:prstGeom prst="rect">
            <a:avLst/>
          </a:prstGeom>
          <a:solidFill>
            <a:schemeClr val="bg1"/>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cxnSp>
        <p:nvCxnSpPr>
          <p:cNvPr id="9" name="Straight Connector 8"/>
          <p:cNvCxnSpPr/>
          <p:nvPr/>
        </p:nvCxnSpPr>
        <p:spPr bwMode="auto">
          <a:xfrm>
            <a:off x="774768" y="2697107"/>
            <a:ext cx="0" cy="2039454"/>
          </a:xfrm>
          <a:prstGeom prst="line">
            <a:avLst/>
          </a:prstGeom>
          <a:noFill/>
          <a:ln w="25400" cap="flat" cmpd="sng" algn="ctr">
            <a:solidFill>
              <a:srgbClr val="FFC000"/>
            </a:solidFill>
            <a:prstDash val="solid"/>
            <a:round/>
            <a:headEnd type="none" w="med" len="med"/>
            <a:tailEnd type="none" w="med" len="med"/>
          </a:ln>
          <a:effectLst/>
        </p:spPr>
      </p:cxnSp>
      <p:sp>
        <p:nvSpPr>
          <p:cNvPr id="26" name="Rectangle 25"/>
          <p:cNvSpPr/>
          <p:nvPr/>
        </p:nvSpPr>
        <p:spPr bwMode="auto">
          <a:xfrm>
            <a:off x="3259116" y="2568758"/>
            <a:ext cx="104504" cy="457596"/>
          </a:xfrm>
          <a:prstGeom prst="rect">
            <a:avLst/>
          </a:prstGeom>
          <a:solidFill>
            <a:schemeClr val="bg1"/>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sp>
        <p:nvSpPr>
          <p:cNvPr id="32" name="Rectangle 31"/>
          <p:cNvSpPr/>
          <p:nvPr/>
        </p:nvSpPr>
        <p:spPr bwMode="auto">
          <a:xfrm>
            <a:off x="4357080" y="2594145"/>
            <a:ext cx="104504" cy="457596"/>
          </a:xfrm>
          <a:prstGeom prst="rect">
            <a:avLst/>
          </a:prstGeom>
          <a:solidFill>
            <a:schemeClr val="bg1"/>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cxnSp>
        <p:nvCxnSpPr>
          <p:cNvPr id="8" name="Straight Connector 7"/>
          <p:cNvCxnSpPr/>
          <p:nvPr/>
        </p:nvCxnSpPr>
        <p:spPr bwMode="auto">
          <a:xfrm flipH="1">
            <a:off x="3301604" y="2684946"/>
            <a:ext cx="9764" cy="2039454"/>
          </a:xfrm>
          <a:prstGeom prst="line">
            <a:avLst/>
          </a:prstGeom>
          <a:noFill/>
          <a:ln w="25400" cap="flat" cmpd="sng" algn="ctr">
            <a:solidFill>
              <a:srgbClr val="FFC000"/>
            </a:solidFill>
            <a:prstDash val="solid"/>
            <a:round/>
            <a:headEnd type="none" w="med" len="med"/>
            <a:tailEnd type="none" w="med" len="med"/>
          </a:ln>
          <a:effectLst/>
        </p:spPr>
      </p:cxnSp>
      <p:sp>
        <p:nvSpPr>
          <p:cNvPr id="33" name="Rectangle 32"/>
          <p:cNvSpPr/>
          <p:nvPr/>
        </p:nvSpPr>
        <p:spPr bwMode="auto">
          <a:xfrm>
            <a:off x="5332612" y="2610820"/>
            <a:ext cx="104504" cy="457596"/>
          </a:xfrm>
          <a:prstGeom prst="rect">
            <a:avLst/>
          </a:prstGeom>
          <a:solidFill>
            <a:schemeClr val="bg1"/>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cxnSp>
        <p:nvCxnSpPr>
          <p:cNvPr id="10" name="Straight Connector 9"/>
          <p:cNvCxnSpPr/>
          <p:nvPr/>
        </p:nvCxnSpPr>
        <p:spPr bwMode="auto">
          <a:xfrm>
            <a:off x="4403488" y="2684946"/>
            <a:ext cx="26259" cy="2742878"/>
          </a:xfrm>
          <a:prstGeom prst="line">
            <a:avLst/>
          </a:prstGeom>
          <a:noFill/>
          <a:ln w="25400" cap="flat" cmpd="sng" algn="ctr">
            <a:solidFill>
              <a:srgbClr val="FFC000"/>
            </a:solidFill>
            <a:prstDash val="solid"/>
            <a:round/>
            <a:headEnd type="none" w="med" len="med"/>
            <a:tailEnd type="none" w="med" len="med"/>
          </a:ln>
          <a:effectLst/>
        </p:spPr>
      </p:cxnSp>
      <p:sp>
        <p:nvSpPr>
          <p:cNvPr id="34" name="Rectangle 33"/>
          <p:cNvSpPr/>
          <p:nvPr/>
        </p:nvSpPr>
        <p:spPr bwMode="auto">
          <a:xfrm>
            <a:off x="6560820" y="2585845"/>
            <a:ext cx="104504" cy="457596"/>
          </a:xfrm>
          <a:prstGeom prst="rect">
            <a:avLst/>
          </a:prstGeom>
          <a:solidFill>
            <a:schemeClr val="bg1"/>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cxnSp>
        <p:nvCxnSpPr>
          <p:cNvPr id="11" name="Straight Connector 10"/>
          <p:cNvCxnSpPr/>
          <p:nvPr/>
        </p:nvCxnSpPr>
        <p:spPr bwMode="auto">
          <a:xfrm>
            <a:off x="5384864" y="2684945"/>
            <a:ext cx="0" cy="2072532"/>
          </a:xfrm>
          <a:prstGeom prst="line">
            <a:avLst/>
          </a:prstGeom>
          <a:noFill/>
          <a:ln w="25400" cap="flat" cmpd="sng" algn="ctr">
            <a:solidFill>
              <a:srgbClr val="FFC000"/>
            </a:solidFill>
            <a:prstDash val="solid"/>
            <a:round/>
            <a:headEnd type="none" w="med" len="med"/>
            <a:tailEnd type="none" w="med" len="med"/>
          </a:ln>
          <a:effectLst/>
        </p:spPr>
      </p:cxnSp>
      <p:cxnSp>
        <p:nvCxnSpPr>
          <p:cNvPr id="12" name="Straight Connector 11"/>
          <p:cNvCxnSpPr/>
          <p:nvPr/>
        </p:nvCxnSpPr>
        <p:spPr bwMode="auto">
          <a:xfrm>
            <a:off x="6613072" y="2684945"/>
            <a:ext cx="0" cy="2191855"/>
          </a:xfrm>
          <a:prstGeom prst="line">
            <a:avLst/>
          </a:prstGeom>
          <a:noFill/>
          <a:ln w="25400" cap="flat" cmpd="sng" algn="ctr">
            <a:solidFill>
              <a:srgbClr val="FFC000"/>
            </a:solidFill>
            <a:prstDash val="solid"/>
            <a:round/>
            <a:headEnd type="none" w="med" len="med"/>
            <a:tailEnd type="none" w="med" len="med"/>
          </a:ln>
          <a:effectLst/>
        </p:spPr>
      </p:cxnSp>
      <p:sp>
        <p:nvSpPr>
          <p:cNvPr id="7" name="TextBox 6"/>
          <p:cNvSpPr txBox="1"/>
          <p:nvPr/>
        </p:nvSpPr>
        <p:spPr>
          <a:xfrm>
            <a:off x="3690110" y="5439985"/>
            <a:ext cx="1526106" cy="532914"/>
          </a:xfrm>
          <a:prstGeom prst="rect">
            <a:avLst/>
          </a:prstGeom>
          <a:noFill/>
          <a:ln w="19050">
            <a:solidFill>
              <a:srgbClr val="FFC000"/>
            </a:solidFill>
          </a:ln>
        </p:spPr>
        <p:txBody>
          <a:bodyPr wrap="square" lIns="101028" tIns="50520" rIns="101028" bIns="50520" rtlCol="0">
            <a:spAutoFit/>
          </a:bodyPr>
          <a:lstStyle/>
          <a:p>
            <a:pPr algn="ctr" defTabSz="1010286"/>
            <a:r>
              <a:rPr lang="en-US" sz="1400" b="1" dirty="0">
                <a:solidFill>
                  <a:srgbClr val="000000"/>
                </a:solidFill>
                <a:latin typeface="Calibri"/>
              </a:rPr>
              <a:t>Submission of waiver to CMS</a:t>
            </a:r>
          </a:p>
        </p:txBody>
      </p:sp>
      <p:sp>
        <p:nvSpPr>
          <p:cNvPr id="36" name="TextBox 35"/>
          <p:cNvSpPr txBox="1"/>
          <p:nvPr/>
        </p:nvSpPr>
        <p:spPr>
          <a:xfrm>
            <a:off x="774768" y="3066570"/>
            <a:ext cx="1355497" cy="1102301"/>
          </a:xfrm>
          <a:prstGeom prst="rect">
            <a:avLst/>
          </a:prstGeom>
          <a:noFill/>
        </p:spPr>
        <p:txBody>
          <a:bodyPr wrap="square" lIns="101028" tIns="50520" rIns="101028" bIns="50520" rtlCol="0">
            <a:spAutoFit/>
          </a:bodyPr>
          <a:lstStyle/>
          <a:p>
            <a:pPr defTabSz="1010286"/>
            <a:r>
              <a:rPr lang="en-US" sz="1300" b="1" dirty="0">
                <a:solidFill>
                  <a:srgbClr val="000000"/>
                </a:solidFill>
                <a:latin typeface="Calibri"/>
              </a:rPr>
              <a:t>60 days before submission:</a:t>
            </a:r>
          </a:p>
          <a:p>
            <a:pPr defTabSz="1010286"/>
            <a:r>
              <a:rPr lang="en-US" sz="1300" dirty="0">
                <a:solidFill>
                  <a:srgbClr val="000000"/>
                </a:solidFill>
                <a:latin typeface="Calibri"/>
              </a:rPr>
              <a:t>Begin Tribal Consultation Process</a:t>
            </a:r>
          </a:p>
        </p:txBody>
      </p:sp>
      <p:sp>
        <p:nvSpPr>
          <p:cNvPr id="37" name="TextBox 36"/>
          <p:cNvSpPr txBox="1"/>
          <p:nvPr/>
        </p:nvSpPr>
        <p:spPr>
          <a:xfrm>
            <a:off x="2001868" y="3046412"/>
            <a:ext cx="1312530" cy="1302355"/>
          </a:xfrm>
          <a:prstGeom prst="rect">
            <a:avLst/>
          </a:prstGeom>
          <a:noFill/>
        </p:spPr>
        <p:txBody>
          <a:bodyPr wrap="square" lIns="101028" tIns="50520" rIns="101028" bIns="50520" rtlCol="0">
            <a:spAutoFit/>
          </a:bodyPr>
          <a:lstStyle/>
          <a:p>
            <a:pPr defTabSz="1010286"/>
            <a:r>
              <a:rPr lang="en-US" sz="1300" b="1" dirty="0">
                <a:solidFill>
                  <a:srgbClr val="000000"/>
                </a:solidFill>
                <a:latin typeface="Calibri"/>
              </a:rPr>
              <a:t>30 days before submission:</a:t>
            </a:r>
          </a:p>
          <a:p>
            <a:pPr defTabSz="1010286"/>
            <a:r>
              <a:rPr lang="en-US" sz="1300" dirty="0">
                <a:solidFill>
                  <a:srgbClr val="000000"/>
                </a:solidFill>
                <a:latin typeface="Calibri"/>
              </a:rPr>
              <a:t>Begin Public Notice Process, including 2 public hearings</a:t>
            </a:r>
          </a:p>
        </p:txBody>
      </p:sp>
      <p:sp>
        <p:nvSpPr>
          <p:cNvPr id="39" name="TextBox 38"/>
          <p:cNvSpPr txBox="1"/>
          <p:nvPr/>
        </p:nvSpPr>
        <p:spPr>
          <a:xfrm>
            <a:off x="4403488" y="3026354"/>
            <a:ext cx="1034097" cy="1702465"/>
          </a:xfrm>
          <a:prstGeom prst="rect">
            <a:avLst/>
          </a:prstGeom>
          <a:noFill/>
        </p:spPr>
        <p:txBody>
          <a:bodyPr wrap="square" lIns="101028" tIns="50520" rIns="101028" bIns="50520" rtlCol="0">
            <a:spAutoFit/>
          </a:bodyPr>
          <a:lstStyle/>
          <a:p>
            <a:pPr defTabSz="1010286"/>
            <a:r>
              <a:rPr lang="en-US" sz="1300" b="1" dirty="0">
                <a:solidFill>
                  <a:srgbClr val="000000"/>
                </a:solidFill>
                <a:latin typeface="Calibri"/>
              </a:rPr>
              <a:t>Within 15 days of submission:</a:t>
            </a:r>
          </a:p>
          <a:p>
            <a:pPr defTabSz="1010286"/>
            <a:r>
              <a:rPr lang="en-US" sz="1300" dirty="0">
                <a:solidFill>
                  <a:srgbClr val="000000"/>
                </a:solidFill>
                <a:latin typeface="Calibri"/>
              </a:rPr>
              <a:t>CMS must determine if complete and notify state</a:t>
            </a:r>
          </a:p>
        </p:txBody>
      </p:sp>
      <p:sp>
        <p:nvSpPr>
          <p:cNvPr id="42" name="TextBox 41"/>
          <p:cNvSpPr txBox="1"/>
          <p:nvPr/>
        </p:nvSpPr>
        <p:spPr>
          <a:xfrm>
            <a:off x="5451275" y="3052250"/>
            <a:ext cx="1147025" cy="1102301"/>
          </a:xfrm>
          <a:prstGeom prst="rect">
            <a:avLst/>
          </a:prstGeom>
          <a:noFill/>
        </p:spPr>
        <p:txBody>
          <a:bodyPr wrap="square" lIns="101028" tIns="50520" rIns="101028" bIns="50520" rtlCol="0">
            <a:spAutoFit/>
          </a:bodyPr>
          <a:lstStyle/>
          <a:p>
            <a:pPr defTabSz="1010286"/>
            <a:r>
              <a:rPr lang="en-US" sz="1300" b="1" dirty="0">
                <a:solidFill>
                  <a:srgbClr val="000000"/>
                </a:solidFill>
                <a:latin typeface="Calibri"/>
              </a:rPr>
              <a:t>30 days from CMS notice:</a:t>
            </a:r>
          </a:p>
          <a:p>
            <a:pPr defTabSz="1010286"/>
            <a:r>
              <a:rPr lang="en-US" sz="1300" dirty="0">
                <a:solidFill>
                  <a:srgbClr val="000000"/>
                </a:solidFill>
                <a:latin typeface="Calibri"/>
              </a:rPr>
              <a:t>Federal public comment process</a:t>
            </a:r>
          </a:p>
        </p:txBody>
      </p:sp>
      <p:sp>
        <p:nvSpPr>
          <p:cNvPr id="45" name="TextBox 44"/>
          <p:cNvSpPr txBox="1"/>
          <p:nvPr/>
        </p:nvSpPr>
        <p:spPr>
          <a:xfrm>
            <a:off x="7027277" y="3227856"/>
            <a:ext cx="2292300" cy="840690"/>
          </a:xfrm>
          <a:prstGeom prst="rect">
            <a:avLst/>
          </a:prstGeom>
          <a:noFill/>
          <a:ln w="19050">
            <a:solidFill>
              <a:srgbClr val="FF0000"/>
            </a:solidFill>
          </a:ln>
        </p:spPr>
        <p:txBody>
          <a:bodyPr wrap="square" lIns="101028" tIns="50520" rIns="101028" bIns="50520" rtlCol="0">
            <a:spAutoFit/>
          </a:bodyPr>
          <a:lstStyle/>
          <a:p>
            <a:pPr algn="ctr" defTabSz="1010286"/>
            <a:r>
              <a:rPr lang="en-US" sz="1600" b="1" dirty="0">
                <a:latin typeface="Calibri"/>
              </a:rPr>
              <a:t>No time limit for CMS review and decision on waiver</a:t>
            </a:r>
            <a:endParaRPr lang="en-US" sz="1600" dirty="0">
              <a:latin typeface="Calibri"/>
            </a:endParaRPr>
          </a:p>
        </p:txBody>
      </p:sp>
      <p:sp>
        <p:nvSpPr>
          <p:cNvPr id="44" name="TextBox 43"/>
          <p:cNvSpPr txBox="1"/>
          <p:nvPr/>
        </p:nvSpPr>
        <p:spPr>
          <a:xfrm>
            <a:off x="3356525" y="3046412"/>
            <a:ext cx="1052807" cy="1302355"/>
          </a:xfrm>
          <a:prstGeom prst="rect">
            <a:avLst/>
          </a:prstGeom>
          <a:noFill/>
        </p:spPr>
        <p:txBody>
          <a:bodyPr wrap="square" lIns="101028" tIns="50520" rIns="101028" bIns="50520" rtlCol="0">
            <a:spAutoFit/>
          </a:bodyPr>
          <a:lstStyle/>
          <a:p>
            <a:pPr defTabSz="1010286"/>
            <a:r>
              <a:rPr lang="en-US" sz="1300" b="1" dirty="0">
                <a:solidFill>
                  <a:srgbClr val="000000"/>
                </a:solidFill>
                <a:latin typeface="Calibri"/>
              </a:rPr>
              <a:t>State reviews and responds to </a:t>
            </a:r>
            <a:r>
              <a:rPr lang="en-US" sz="1300" dirty="0">
                <a:solidFill>
                  <a:srgbClr val="000000"/>
                </a:solidFill>
                <a:latin typeface="Calibri"/>
              </a:rPr>
              <a:t>Public Notice Process</a:t>
            </a:r>
          </a:p>
        </p:txBody>
      </p:sp>
      <p:sp>
        <p:nvSpPr>
          <p:cNvPr id="50" name="TextBox 49"/>
          <p:cNvSpPr txBox="1"/>
          <p:nvPr/>
        </p:nvSpPr>
        <p:spPr>
          <a:xfrm>
            <a:off x="6865976" y="5111696"/>
            <a:ext cx="2354224" cy="902246"/>
          </a:xfrm>
          <a:prstGeom prst="rect">
            <a:avLst/>
          </a:prstGeom>
          <a:noFill/>
          <a:ln w="12700">
            <a:solidFill>
              <a:schemeClr val="tx2"/>
            </a:solidFill>
            <a:prstDash val="sysDash"/>
          </a:ln>
        </p:spPr>
        <p:txBody>
          <a:bodyPr wrap="square" lIns="101028" tIns="50520" rIns="101028" bIns="50520" rtlCol="0">
            <a:spAutoFit/>
          </a:bodyPr>
          <a:lstStyle/>
          <a:p>
            <a:pPr defTabSz="1010286"/>
            <a:r>
              <a:rPr lang="en-US" sz="1300" dirty="0">
                <a:latin typeface="Calibri"/>
              </a:rPr>
              <a:t>CMS cannot approve waiver sooner than 15 days after the Federal public comment period closes.</a:t>
            </a:r>
          </a:p>
        </p:txBody>
      </p:sp>
      <p:sp>
        <p:nvSpPr>
          <p:cNvPr id="17" name="Right Arrow 16"/>
          <p:cNvSpPr/>
          <p:nvPr/>
        </p:nvSpPr>
        <p:spPr bwMode="auto">
          <a:xfrm>
            <a:off x="6690167" y="1946454"/>
            <a:ext cx="3139633" cy="627985"/>
          </a:xfrm>
          <a:prstGeom prst="rightArrow">
            <a:avLst/>
          </a:prstGeom>
          <a:solidFill>
            <a:srgbClr val="FF0000"/>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58" name="Rectangle 57"/>
          <p:cNvSpPr/>
          <p:nvPr/>
        </p:nvSpPr>
        <p:spPr bwMode="auto">
          <a:xfrm>
            <a:off x="1930309" y="2544437"/>
            <a:ext cx="104504" cy="457596"/>
          </a:xfrm>
          <a:prstGeom prst="rect">
            <a:avLst/>
          </a:prstGeom>
          <a:solidFill>
            <a:schemeClr val="bg1"/>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sp>
        <p:nvSpPr>
          <p:cNvPr id="62" name="TextBox 61"/>
          <p:cNvSpPr txBox="1"/>
          <p:nvPr/>
        </p:nvSpPr>
        <p:spPr>
          <a:xfrm>
            <a:off x="-2" y="1143000"/>
            <a:ext cx="10058401" cy="707886"/>
          </a:xfrm>
          <a:prstGeom prst="rect">
            <a:avLst/>
          </a:prstGeom>
          <a:solidFill>
            <a:schemeClr val="tx2">
              <a:lumMod val="20000"/>
              <a:lumOff val="80000"/>
            </a:schemeClr>
          </a:solidFill>
          <a:ln w="28575">
            <a:noFill/>
          </a:ln>
        </p:spPr>
        <p:txBody>
          <a:bodyPr wrap="square" rtlCol="0">
            <a:spAutoFit/>
          </a:bodyPr>
          <a:lstStyle/>
          <a:p>
            <a:pPr algn="ctr"/>
            <a:r>
              <a:rPr lang="en-US" sz="2000" dirty="0">
                <a:latin typeface="+mn-lt"/>
              </a:rPr>
              <a:t>The 1115 waiver review and decision process is often lengthy. </a:t>
            </a:r>
            <a:br>
              <a:rPr lang="en-US" sz="2000" dirty="0">
                <a:latin typeface="+mn-lt"/>
              </a:rPr>
            </a:br>
            <a:r>
              <a:rPr lang="en-US" sz="2000" dirty="0">
                <a:latin typeface="+mn-lt"/>
              </a:rPr>
              <a:t>There is no time limit for CMS to review and make a decision on a waiver.</a:t>
            </a:r>
          </a:p>
        </p:txBody>
      </p:sp>
      <p:cxnSp>
        <p:nvCxnSpPr>
          <p:cNvPr id="64" name="Straight Connector 63"/>
          <p:cNvCxnSpPr/>
          <p:nvPr/>
        </p:nvCxnSpPr>
        <p:spPr bwMode="auto">
          <a:xfrm>
            <a:off x="-2" y="1143000"/>
            <a:ext cx="10058401" cy="0"/>
          </a:xfrm>
          <a:prstGeom prst="line">
            <a:avLst/>
          </a:prstGeom>
          <a:noFill/>
          <a:ln w="28575" cap="flat" cmpd="sng" algn="ctr">
            <a:solidFill>
              <a:srgbClr val="FFC000"/>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Connector 64"/>
          <p:cNvCxnSpPr/>
          <p:nvPr/>
        </p:nvCxnSpPr>
        <p:spPr bwMode="auto">
          <a:xfrm>
            <a:off x="-3" y="1850886"/>
            <a:ext cx="10058401" cy="0"/>
          </a:xfrm>
          <a:prstGeom prst="line">
            <a:avLst/>
          </a:prstGeom>
          <a:noFill/>
          <a:ln w="28575" cap="flat" cmpd="sng" algn="ctr">
            <a:solidFill>
              <a:srgbClr val="FFC000"/>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Straight Arrow Connector 72"/>
          <p:cNvCxnSpPr/>
          <p:nvPr/>
        </p:nvCxnSpPr>
        <p:spPr bwMode="auto">
          <a:xfrm>
            <a:off x="4418852" y="2140433"/>
            <a:ext cx="0" cy="404004"/>
          </a:xfrm>
          <a:prstGeom prst="straightConnector1">
            <a:avLst/>
          </a:prstGeom>
          <a:noFill/>
          <a:ln w="12700" cap="flat" cmpd="sng" algn="ctr">
            <a:solidFill>
              <a:schemeClr val="tx1"/>
            </a:solidFill>
            <a:prstDash val="solid"/>
            <a:miter lim="800000"/>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 name="Straight Connector 79"/>
          <p:cNvCxnSpPr/>
          <p:nvPr/>
        </p:nvCxnSpPr>
        <p:spPr bwMode="auto">
          <a:xfrm>
            <a:off x="1979673" y="2684945"/>
            <a:ext cx="2888" cy="2039455"/>
          </a:xfrm>
          <a:prstGeom prst="line">
            <a:avLst/>
          </a:prstGeom>
          <a:noFill/>
          <a:ln w="25400" cap="flat" cmpd="sng" algn="ctr">
            <a:solidFill>
              <a:srgbClr val="FFC000"/>
            </a:solidFill>
            <a:prstDash val="solid"/>
            <a:round/>
            <a:headEnd type="none" w="med" len="med"/>
            <a:tailEnd type="none" w="med" len="med"/>
          </a:ln>
          <a:effectLst/>
        </p:spPr>
      </p:cxnSp>
      <p:sp>
        <p:nvSpPr>
          <p:cNvPr id="59" name="TextBox 58"/>
          <p:cNvSpPr txBox="1"/>
          <p:nvPr/>
        </p:nvSpPr>
        <p:spPr>
          <a:xfrm>
            <a:off x="7030171" y="2092682"/>
            <a:ext cx="2190029" cy="317470"/>
          </a:xfrm>
          <a:prstGeom prst="rect">
            <a:avLst/>
          </a:prstGeom>
          <a:noFill/>
        </p:spPr>
        <p:txBody>
          <a:bodyPr wrap="square" lIns="101028" tIns="50520" rIns="101028" bIns="50520" rtlCol="0">
            <a:spAutoFit/>
          </a:bodyPr>
          <a:lstStyle/>
          <a:p>
            <a:pPr algn="ctr" defTabSz="1010286"/>
            <a:r>
              <a:rPr lang="en-US" sz="1400" b="1" dirty="0">
                <a:solidFill>
                  <a:schemeClr val="bg1"/>
                </a:solidFill>
                <a:latin typeface="Calibri"/>
              </a:rPr>
              <a:t>No time limit</a:t>
            </a:r>
          </a:p>
        </p:txBody>
      </p:sp>
    </p:spTree>
    <p:extLst>
      <p:ext uri="{BB962C8B-B14F-4D97-AF65-F5344CB8AC3E}">
        <p14:creationId xmlns:p14="http://schemas.microsoft.com/office/powerpoint/2010/main" val="16813718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tion 1332 Waiver Process Timeline</a:t>
            </a:r>
          </a:p>
        </p:txBody>
      </p:sp>
      <p:sp>
        <p:nvSpPr>
          <p:cNvPr id="3" name="Footer Placeholder 2"/>
          <p:cNvSpPr>
            <a:spLocks noGrp="1"/>
          </p:cNvSpPr>
          <p:nvPr>
            <p:ph type="ftr" sz="quarter" idx="10"/>
          </p:nvPr>
        </p:nvSpPr>
        <p:spPr/>
        <p:txBody>
          <a:bodyPr/>
          <a:lstStyle/>
          <a:p>
            <a:r>
              <a:rPr lang="en-US" altLang="en-US" dirty="0"/>
              <a:t>Medicaid Expansion Council Meeting | Kansas Expansion</a:t>
            </a:r>
          </a:p>
        </p:txBody>
      </p:sp>
      <p:grpSp>
        <p:nvGrpSpPr>
          <p:cNvPr id="6" name="Group 5">
            <a:extLst>
              <a:ext uri="{FF2B5EF4-FFF2-40B4-BE49-F238E27FC236}">
                <a16:creationId xmlns:a16="http://schemas.microsoft.com/office/drawing/2014/main" id="{09E8AE32-1D07-4F22-B1F9-5CAEB0D7D5D0}"/>
              </a:ext>
            </a:extLst>
          </p:cNvPr>
          <p:cNvGrpSpPr/>
          <p:nvPr/>
        </p:nvGrpSpPr>
        <p:grpSpPr>
          <a:xfrm>
            <a:off x="504850" y="1981200"/>
            <a:ext cx="9048701" cy="2895948"/>
            <a:chOff x="2153629" y="1771476"/>
            <a:chExt cx="9048701" cy="2895948"/>
          </a:xfrm>
        </p:grpSpPr>
        <p:sp>
          <p:nvSpPr>
            <p:cNvPr id="7" name="Rectangle 6">
              <a:extLst>
                <a:ext uri="{FF2B5EF4-FFF2-40B4-BE49-F238E27FC236}">
                  <a16:creationId xmlns:a16="http://schemas.microsoft.com/office/drawing/2014/main" id="{38821358-FA56-4B76-9888-9967187476D3}"/>
                </a:ext>
              </a:extLst>
            </p:cNvPr>
            <p:cNvSpPr/>
            <p:nvPr/>
          </p:nvSpPr>
          <p:spPr>
            <a:xfrm>
              <a:off x="2153629" y="2079253"/>
              <a:ext cx="1244600" cy="1143000"/>
            </a:xfrm>
            <a:prstGeom prst="rect">
              <a:avLst/>
            </a:prstGeom>
            <a:solidFill>
              <a:srgbClr val="6829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dirty="0">
                  <a:latin typeface="Lato Black" panose="020F0502020204030203"/>
                </a:rPr>
                <a:t>State Legislation</a:t>
              </a:r>
            </a:p>
          </p:txBody>
        </p:sp>
        <p:grpSp>
          <p:nvGrpSpPr>
            <p:cNvPr id="8" name="Group 7">
              <a:extLst>
                <a:ext uri="{FF2B5EF4-FFF2-40B4-BE49-F238E27FC236}">
                  <a16:creationId xmlns:a16="http://schemas.microsoft.com/office/drawing/2014/main" id="{B794A195-E0AF-41BE-886F-CDA04FC8C95C}"/>
                </a:ext>
              </a:extLst>
            </p:cNvPr>
            <p:cNvGrpSpPr/>
            <p:nvPr/>
          </p:nvGrpSpPr>
          <p:grpSpPr>
            <a:xfrm>
              <a:off x="3506130" y="1771476"/>
              <a:ext cx="1765320" cy="1930748"/>
              <a:chOff x="2857501" y="2577752"/>
              <a:chExt cx="1765320" cy="1930748"/>
            </a:xfrm>
          </p:grpSpPr>
          <p:sp>
            <p:nvSpPr>
              <p:cNvPr id="23" name="Rectangle 22">
                <a:extLst>
                  <a:ext uri="{FF2B5EF4-FFF2-40B4-BE49-F238E27FC236}">
                    <a16:creationId xmlns:a16="http://schemas.microsoft.com/office/drawing/2014/main" id="{6C2E2E1E-2166-46EF-8316-3D3A81FAA26D}"/>
                  </a:ext>
                </a:extLst>
              </p:cNvPr>
              <p:cNvSpPr/>
              <p:nvPr/>
            </p:nvSpPr>
            <p:spPr>
              <a:xfrm>
                <a:off x="3060729" y="3365500"/>
                <a:ext cx="1244600" cy="1143000"/>
              </a:xfrm>
              <a:prstGeom prst="rect">
                <a:avLst/>
              </a:prstGeom>
              <a:solidFill>
                <a:srgbClr val="6829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dirty="0">
                    <a:latin typeface="Lato Black" panose="020F0502020204030203"/>
                  </a:rPr>
                  <a:t>State Public Notice and Comment Period</a:t>
                </a:r>
              </a:p>
            </p:txBody>
          </p:sp>
          <p:sp>
            <p:nvSpPr>
              <p:cNvPr id="24" name="Left Brace 23">
                <a:extLst>
                  <a:ext uri="{FF2B5EF4-FFF2-40B4-BE49-F238E27FC236}">
                    <a16:creationId xmlns:a16="http://schemas.microsoft.com/office/drawing/2014/main" id="{51C38ACA-12CC-435D-86AC-F42611275C6B}"/>
                  </a:ext>
                </a:extLst>
              </p:cNvPr>
              <p:cNvSpPr/>
              <p:nvPr/>
            </p:nvSpPr>
            <p:spPr>
              <a:xfrm rot="5400000">
                <a:off x="3565575" y="2521786"/>
                <a:ext cx="241272" cy="1238236"/>
              </a:xfrm>
              <a:prstGeom prst="leftBrace">
                <a:avLst>
                  <a:gd name="adj1" fmla="val 1859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solidFill>
                    <a:schemeClr val="bg2">
                      <a:lumMod val="50000"/>
                    </a:schemeClr>
                  </a:solidFill>
                  <a:latin typeface="Lato Black" panose="020F0502020204030203"/>
                </a:endParaRPr>
              </a:p>
            </p:txBody>
          </p:sp>
          <p:sp>
            <p:nvSpPr>
              <p:cNvPr id="25" name="TextBox 26">
                <a:extLst>
                  <a:ext uri="{FF2B5EF4-FFF2-40B4-BE49-F238E27FC236}">
                    <a16:creationId xmlns:a16="http://schemas.microsoft.com/office/drawing/2014/main" id="{B20BF820-1F30-472C-BED7-52A762F8B77C}"/>
                  </a:ext>
                </a:extLst>
              </p:cNvPr>
              <p:cNvSpPr txBox="1"/>
              <p:nvPr/>
            </p:nvSpPr>
            <p:spPr>
              <a:xfrm>
                <a:off x="2857501" y="2577752"/>
                <a:ext cx="1765320"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Lato Black" panose="020F0502020204030203"/>
                  </a:rPr>
                  <a:t>Minimum 30 days</a:t>
                </a:r>
              </a:p>
            </p:txBody>
          </p:sp>
        </p:grpSp>
        <p:grpSp>
          <p:nvGrpSpPr>
            <p:cNvPr id="9" name="Group 8">
              <a:extLst>
                <a:ext uri="{FF2B5EF4-FFF2-40B4-BE49-F238E27FC236}">
                  <a16:creationId xmlns:a16="http://schemas.microsoft.com/office/drawing/2014/main" id="{0CA4B6F3-D0F0-42F1-A9C1-D63BCCF99119}"/>
                </a:ext>
              </a:extLst>
            </p:cNvPr>
            <p:cNvGrpSpPr/>
            <p:nvPr/>
          </p:nvGrpSpPr>
          <p:grpSpPr>
            <a:xfrm>
              <a:off x="5157185" y="1771478"/>
              <a:ext cx="1828810" cy="1930746"/>
              <a:chOff x="4508556" y="2577754"/>
              <a:chExt cx="1828810" cy="1930746"/>
            </a:xfrm>
          </p:grpSpPr>
          <p:sp>
            <p:nvSpPr>
              <p:cNvPr id="20" name="Rectangle 19">
                <a:extLst>
                  <a:ext uri="{FF2B5EF4-FFF2-40B4-BE49-F238E27FC236}">
                    <a16:creationId xmlns:a16="http://schemas.microsoft.com/office/drawing/2014/main" id="{41CA93B4-281D-46FC-B989-716E6FA7E549}"/>
                  </a:ext>
                </a:extLst>
              </p:cNvPr>
              <p:cNvSpPr/>
              <p:nvPr/>
            </p:nvSpPr>
            <p:spPr>
              <a:xfrm>
                <a:off x="4622822" y="3365500"/>
                <a:ext cx="1244600" cy="1143000"/>
              </a:xfrm>
              <a:prstGeom prst="rect">
                <a:avLst/>
              </a:prstGeom>
              <a:solidFill>
                <a:srgbClr val="6829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dirty="0">
                    <a:latin typeface="Lato Black" panose="020F0502020204030203"/>
                  </a:rPr>
                  <a:t>Public Hearings</a:t>
                </a:r>
              </a:p>
            </p:txBody>
          </p:sp>
          <p:sp>
            <p:nvSpPr>
              <p:cNvPr id="21" name="Left Brace 20">
                <a:extLst>
                  <a:ext uri="{FF2B5EF4-FFF2-40B4-BE49-F238E27FC236}">
                    <a16:creationId xmlns:a16="http://schemas.microsoft.com/office/drawing/2014/main" id="{424E042B-A55E-4CA5-93F8-8FC8927DE3E6}"/>
                  </a:ext>
                </a:extLst>
              </p:cNvPr>
              <p:cNvSpPr/>
              <p:nvPr/>
            </p:nvSpPr>
            <p:spPr>
              <a:xfrm rot="5400000">
                <a:off x="5121303" y="2521786"/>
                <a:ext cx="241272" cy="1238236"/>
              </a:xfrm>
              <a:prstGeom prst="leftBrace">
                <a:avLst>
                  <a:gd name="adj1" fmla="val 1859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latin typeface="Lato Black" panose="020F0502020204030203"/>
                </a:endParaRPr>
              </a:p>
            </p:txBody>
          </p:sp>
          <p:sp>
            <p:nvSpPr>
              <p:cNvPr id="22" name="TextBox 28">
                <a:extLst>
                  <a:ext uri="{FF2B5EF4-FFF2-40B4-BE49-F238E27FC236}">
                    <a16:creationId xmlns:a16="http://schemas.microsoft.com/office/drawing/2014/main" id="{F1A30527-7E43-4CD1-992D-BE137AA29E83}"/>
                  </a:ext>
                </a:extLst>
              </p:cNvPr>
              <p:cNvSpPr txBox="1"/>
              <p:nvPr/>
            </p:nvSpPr>
            <p:spPr>
              <a:xfrm>
                <a:off x="4508556" y="2577754"/>
                <a:ext cx="1828810"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Lato Black" panose="020F0502020204030203"/>
                  </a:rPr>
                  <a:t>Estimated 30 days</a:t>
                </a:r>
              </a:p>
            </p:txBody>
          </p:sp>
        </p:grpSp>
        <p:grpSp>
          <p:nvGrpSpPr>
            <p:cNvPr id="10" name="Group 9">
              <a:extLst>
                <a:ext uri="{FF2B5EF4-FFF2-40B4-BE49-F238E27FC236}">
                  <a16:creationId xmlns:a16="http://schemas.microsoft.com/office/drawing/2014/main" id="{C4470562-4AE4-4F6F-99BA-1E7B55E5328E}"/>
                </a:ext>
              </a:extLst>
            </p:cNvPr>
            <p:cNvGrpSpPr/>
            <p:nvPr/>
          </p:nvGrpSpPr>
          <p:grpSpPr>
            <a:xfrm>
              <a:off x="6744629" y="1771476"/>
              <a:ext cx="1765320" cy="1930748"/>
              <a:chOff x="6096000" y="2577752"/>
              <a:chExt cx="1765320" cy="1930748"/>
            </a:xfrm>
          </p:grpSpPr>
          <p:sp>
            <p:nvSpPr>
              <p:cNvPr id="17" name="Rectangle 16">
                <a:extLst>
                  <a:ext uri="{FF2B5EF4-FFF2-40B4-BE49-F238E27FC236}">
                    <a16:creationId xmlns:a16="http://schemas.microsoft.com/office/drawing/2014/main" id="{57B481DE-D997-44CA-BCA9-92B2E25A9953}"/>
                  </a:ext>
                </a:extLst>
              </p:cNvPr>
              <p:cNvSpPr/>
              <p:nvPr/>
            </p:nvSpPr>
            <p:spPr>
              <a:xfrm>
                <a:off x="6184915" y="3365500"/>
                <a:ext cx="1244600" cy="1143000"/>
              </a:xfrm>
              <a:prstGeom prst="rect">
                <a:avLst/>
              </a:prstGeom>
              <a:solidFill>
                <a:srgbClr val="6829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dirty="0">
                    <a:latin typeface="Lato Black" panose="020F0502020204030203"/>
                  </a:rPr>
                  <a:t>Preliminary Review</a:t>
                </a:r>
              </a:p>
            </p:txBody>
          </p:sp>
          <p:sp>
            <p:nvSpPr>
              <p:cNvPr id="18" name="Left Brace 17">
                <a:extLst>
                  <a:ext uri="{FF2B5EF4-FFF2-40B4-BE49-F238E27FC236}">
                    <a16:creationId xmlns:a16="http://schemas.microsoft.com/office/drawing/2014/main" id="{43EBDCCB-ADA7-40B4-A05F-B91160B50395}"/>
                  </a:ext>
                </a:extLst>
              </p:cNvPr>
              <p:cNvSpPr/>
              <p:nvPr/>
            </p:nvSpPr>
            <p:spPr>
              <a:xfrm rot="5400000">
                <a:off x="6683396" y="2521786"/>
                <a:ext cx="241272" cy="1238236"/>
              </a:xfrm>
              <a:prstGeom prst="leftBrace">
                <a:avLst>
                  <a:gd name="adj1" fmla="val 1859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latin typeface="Lato Black" panose="020F0502020204030203"/>
                </a:endParaRPr>
              </a:p>
            </p:txBody>
          </p:sp>
          <p:sp>
            <p:nvSpPr>
              <p:cNvPr id="19" name="TextBox 29">
                <a:extLst>
                  <a:ext uri="{FF2B5EF4-FFF2-40B4-BE49-F238E27FC236}">
                    <a16:creationId xmlns:a16="http://schemas.microsoft.com/office/drawing/2014/main" id="{6A4C9C98-9063-455E-96F1-2432978504FD}"/>
                  </a:ext>
                </a:extLst>
              </p:cNvPr>
              <p:cNvSpPr txBox="1"/>
              <p:nvPr/>
            </p:nvSpPr>
            <p:spPr>
              <a:xfrm>
                <a:off x="6096000" y="2577752"/>
                <a:ext cx="1765320"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latin typeface="Lato Black" panose="020F0502020204030203"/>
                  </a:rPr>
                  <a:t>Within 45 days</a:t>
                </a:r>
              </a:p>
            </p:txBody>
          </p:sp>
        </p:grpSp>
        <p:grpSp>
          <p:nvGrpSpPr>
            <p:cNvPr id="11" name="Group 10">
              <a:extLst>
                <a:ext uri="{FF2B5EF4-FFF2-40B4-BE49-F238E27FC236}">
                  <a16:creationId xmlns:a16="http://schemas.microsoft.com/office/drawing/2014/main" id="{D8E2B669-356A-419F-BAEB-609167B61D72}"/>
                </a:ext>
              </a:extLst>
            </p:cNvPr>
            <p:cNvGrpSpPr/>
            <p:nvPr/>
          </p:nvGrpSpPr>
          <p:grpSpPr>
            <a:xfrm>
              <a:off x="8395636" y="1771476"/>
              <a:ext cx="2806694" cy="1930748"/>
              <a:chOff x="7747007" y="2577752"/>
              <a:chExt cx="2806694" cy="1930748"/>
            </a:xfrm>
          </p:grpSpPr>
          <p:sp>
            <p:nvSpPr>
              <p:cNvPr id="13" name="Rectangle 12">
                <a:extLst>
                  <a:ext uri="{FF2B5EF4-FFF2-40B4-BE49-F238E27FC236}">
                    <a16:creationId xmlns:a16="http://schemas.microsoft.com/office/drawing/2014/main" id="{876639A3-479F-402F-B03D-12BFE748E7DB}"/>
                  </a:ext>
                </a:extLst>
              </p:cNvPr>
              <p:cNvSpPr/>
              <p:nvPr/>
            </p:nvSpPr>
            <p:spPr>
              <a:xfrm>
                <a:off x="7747008" y="3365500"/>
                <a:ext cx="1244600" cy="1143000"/>
              </a:xfrm>
              <a:prstGeom prst="rect">
                <a:avLst/>
              </a:prstGeom>
              <a:solidFill>
                <a:srgbClr val="6829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dirty="0">
                    <a:latin typeface="Lato Black" panose="020F0502020204030203"/>
                  </a:rPr>
                  <a:t>Federal Public Notice and Comment Period</a:t>
                </a:r>
              </a:p>
            </p:txBody>
          </p:sp>
          <p:sp>
            <p:nvSpPr>
              <p:cNvPr id="14" name="Rectangle 13">
                <a:extLst>
                  <a:ext uri="{FF2B5EF4-FFF2-40B4-BE49-F238E27FC236}">
                    <a16:creationId xmlns:a16="http://schemas.microsoft.com/office/drawing/2014/main" id="{7641A7CA-DFDC-4AF5-9BD8-6DCA794A37E8}"/>
                  </a:ext>
                </a:extLst>
              </p:cNvPr>
              <p:cNvSpPr/>
              <p:nvPr/>
            </p:nvSpPr>
            <p:spPr>
              <a:xfrm>
                <a:off x="9309101" y="3365500"/>
                <a:ext cx="1244600" cy="1143000"/>
              </a:xfrm>
              <a:prstGeom prst="rect">
                <a:avLst/>
              </a:prstGeom>
              <a:solidFill>
                <a:srgbClr val="6829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dirty="0">
                    <a:latin typeface="Lato Black" panose="020F0502020204030203"/>
                  </a:rPr>
                  <a:t>HHS and Treasury Decision Making</a:t>
                </a:r>
              </a:p>
            </p:txBody>
          </p:sp>
          <p:sp>
            <p:nvSpPr>
              <p:cNvPr id="15" name="Left Brace 14">
                <a:extLst>
                  <a:ext uri="{FF2B5EF4-FFF2-40B4-BE49-F238E27FC236}">
                    <a16:creationId xmlns:a16="http://schemas.microsoft.com/office/drawing/2014/main" id="{3A3D998B-D37E-4777-ACE3-697A32DCC2DD}"/>
                  </a:ext>
                </a:extLst>
              </p:cNvPr>
              <p:cNvSpPr/>
              <p:nvPr/>
            </p:nvSpPr>
            <p:spPr>
              <a:xfrm rot="5400000">
                <a:off x="9022567" y="1730407"/>
                <a:ext cx="255573" cy="2806693"/>
              </a:xfrm>
              <a:prstGeom prst="leftBrace">
                <a:avLst>
                  <a:gd name="adj1" fmla="val 18590"/>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latin typeface="Lato Black" panose="020F0502020204030203"/>
                </a:endParaRPr>
              </a:p>
            </p:txBody>
          </p:sp>
          <p:sp>
            <p:nvSpPr>
              <p:cNvPr id="16" name="TextBox 30">
                <a:extLst>
                  <a:ext uri="{FF2B5EF4-FFF2-40B4-BE49-F238E27FC236}">
                    <a16:creationId xmlns:a16="http://schemas.microsoft.com/office/drawing/2014/main" id="{7E92F1FD-B0F7-426F-9864-32796557DD10}"/>
                  </a:ext>
                </a:extLst>
              </p:cNvPr>
              <p:cNvSpPr txBox="1"/>
              <p:nvPr/>
            </p:nvSpPr>
            <p:spPr>
              <a:xfrm>
                <a:off x="8267693" y="2577752"/>
                <a:ext cx="1765320" cy="30777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latin typeface="Lato Black" panose="020F0502020204030203"/>
                  </a:rPr>
                  <a:t>Within 180 days</a:t>
                </a:r>
              </a:p>
            </p:txBody>
          </p:sp>
        </p:grpSp>
        <p:sp>
          <p:nvSpPr>
            <p:cNvPr id="12" name="Rectangle 11">
              <a:extLst>
                <a:ext uri="{FF2B5EF4-FFF2-40B4-BE49-F238E27FC236}">
                  <a16:creationId xmlns:a16="http://schemas.microsoft.com/office/drawing/2014/main" id="{DA812C13-50A7-49B9-A148-A49AABE5091C}"/>
                </a:ext>
              </a:extLst>
            </p:cNvPr>
            <p:cNvSpPr/>
            <p:nvPr/>
          </p:nvSpPr>
          <p:spPr>
            <a:xfrm>
              <a:off x="2153629" y="3524424"/>
              <a:ext cx="1244600" cy="1143000"/>
            </a:xfrm>
            <a:prstGeom prst="rect">
              <a:avLst/>
            </a:prstGeom>
            <a:solidFill>
              <a:srgbClr val="6829AD"/>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dirty="0">
                  <a:latin typeface="Lato Black" panose="020F0502020204030203"/>
                </a:rPr>
                <a:t>Economic and Actuarial Analyses</a:t>
              </a:r>
            </a:p>
          </p:txBody>
        </p:sp>
      </p:grpSp>
    </p:spTree>
    <p:extLst>
      <p:ext uri="{BB962C8B-B14F-4D97-AF65-F5344CB8AC3E}">
        <p14:creationId xmlns:p14="http://schemas.microsoft.com/office/powerpoint/2010/main" val="3695203690"/>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ltLang="en-US" dirty="0">
                <a:solidFill>
                  <a:srgbClr val="FFFFFF"/>
                </a:solidFill>
              </a:rPr>
              <a:t>Medicaid Expansion Council Meeting | Kansas Expansion</a:t>
            </a:r>
          </a:p>
        </p:txBody>
      </p:sp>
      <p:sp>
        <p:nvSpPr>
          <p:cNvPr id="5" name="Title 4"/>
          <p:cNvSpPr>
            <a:spLocks noGrp="1"/>
          </p:cNvSpPr>
          <p:nvPr>
            <p:ph type="title"/>
          </p:nvPr>
        </p:nvSpPr>
        <p:spPr/>
        <p:txBody>
          <a:bodyPr/>
          <a:lstStyle/>
          <a:p>
            <a:r>
              <a:rPr lang="en-US" dirty="0"/>
              <a:t>Senate Proposal</a:t>
            </a:r>
          </a:p>
        </p:txBody>
      </p:sp>
    </p:spTree>
    <p:extLst>
      <p:ext uri="{BB962C8B-B14F-4D97-AF65-F5344CB8AC3E}">
        <p14:creationId xmlns:p14="http://schemas.microsoft.com/office/powerpoint/2010/main" val="853442484"/>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539186" y="1371600"/>
            <a:ext cx="9062014" cy="1219200"/>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7" name="Title 6"/>
          <p:cNvSpPr>
            <a:spLocks noGrp="1"/>
          </p:cNvSpPr>
          <p:nvPr>
            <p:ph type="title"/>
          </p:nvPr>
        </p:nvSpPr>
        <p:spPr/>
        <p:txBody>
          <a:bodyPr/>
          <a:lstStyle/>
          <a:p>
            <a:r>
              <a:rPr lang="en-US" dirty="0"/>
              <a:t>Overview: Three Step Approach to Coverage</a:t>
            </a:r>
          </a:p>
        </p:txBody>
      </p:sp>
      <p:sp>
        <p:nvSpPr>
          <p:cNvPr id="8" name="Right Arrow 7"/>
          <p:cNvSpPr/>
          <p:nvPr/>
        </p:nvSpPr>
        <p:spPr bwMode="auto">
          <a:xfrm>
            <a:off x="539187" y="1097280"/>
            <a:ext cx="9062013" cy="50292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14" name="Rectangle 13"/>
          <p:cNvSpPr/>
          <p:nvPr/>
        </p:nvSpPr>
        <p:spPr bwMode="auto">
          <a:xfrm>
            <a:off x="3605348" y="1218804"/>
            <a:ext cx="104504" cy="45759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cxnSp>
        <p:nvCxnSpPr>
          <p:cNvPr id="15" name="Straight Connector 14"/>
          <p:cNvCxnSpPr/>
          <p:nvPr/>
        </p:nvCxnSpPr>
        <p:spPr bwMode="auto">
          <a:xfrm>
            <a:off x="3657600" y="1225343"/>
            <a:ext cx="0" cy="5708857"/>
          </a:xfrm>
          <a:prstGeom prst="line">
            <a:avLst/>
          </a:prstGeom>
          <a:noFill/>
          <a:ln w="25400" cap="flat" cmpd="sng" algn="ctr">
            <a:solidFill>
              <a:srgbClr val="FFC000"/>
            </a:solidFill>
            <a:prstDash val="solid"/>
            <a:round/>
            <a:headEnd type="none" w="med" len="med"/>
            <a:tailEnd type="none" w="med" len="med"/>
          </a:ln>
          <a:effectLst/>
        </p:spPr>
      </p:cxnSp>
      <p:sp>
        <p:nvSpPr>
          <p:cNvPr id="20" name="Rectangle 19"/>
          <p:cNvSpPr/>
          <p:nvPr/>
        </p:nvSpPr>
        <p:spPr bwMode="auto">
          <a:xfrm>
            <a:off x="620073" y="1219200"/>
            <a:ext cx="104503" cy="40114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cxnSp>
        <p:nvCxnSpPr>
          <p:cNvPr id="21" name="Straight Connector 20"/>
          <p:cNvCxnSpPr/>
          <p:nvPr/>
        </p:nvCxnSpPr>
        <p:spPr bwMode="auto">
          <a:xfrm>
            <a:off x="672325" y="1225343"/>
            <a:ext cx="0" cy="5708857"/>
          </a:xfrm>
          <a:prstGeom prst="line">
            <a:avLst/>
          </a:prstGeom>
          <a:noFill/>
          <a:ln w="25400" cap="flat" cmpd="sng" algn="ctr">
            <a:solidFill>
              <a:srgbClr val="FFC000"/>
            </a:solidFill>
            <a:prstDash val="solid"/>
            <a:round/>
            <a:headEnd type="none" w="med" len="med"/>
            <a:tailEnd type="none" w="med" len="med"/>
          </a:ln>
          <a:effectLst/>
        </p:spPr>
      </p:cxnSp>
      <p:sp>
        <p:nvSpPr>
          <p:cNvPr id="22" name="TextBox 21"/>
          <p:cNvSpPr txBox="1"/>
          <p:nvPr/>
        </p:nvSpPr>
        <p:spPr>
          <a:xfrm>
            <a:off x="1066800" y="1490732"/>
            <a:ext cx="2209800" cy="656025"/>
          </a:xfrm>
          <a:prstGeom prst="rect">
            <a:avLst/>
          </a:prstGeom>
          <a:solidFill>
            <a:schemeClr val="bg1">
              <a:lumMod val="95000"/>
            </a:schemeClr>
          </a:solidFill>
        </p:spPr>
        <p:txBody>
          <a:bodyPr wrap="square" lIns="101028" tIns="50520" rIns="101028" bIns="50520" rtlCol="0">
            <a:spAutoFit/>
          </a:bodyPr>
          <a:lstStyle/>
          <a:p>
            <a:pPr algn="ctr" defTabSz="1010286"/>
            <a:r>
              <a:rPr lang="en-US" sz="1200" b="1" dirty="0">
                <a:solidFill>
                  <a:srgbClr val="000000"/>
                </a:solidFill>
                <a:latin typeface="Calibri"/>
              </a:rPr>
              <a:t>Partial Expansion</a:t>
            </a:r>
            <a:r>
              <a:rPr lang="en-US" sz="1200" dirty="0">
                <a:solidFill>
                  <a:srgbClr val="000000"/>
                </a:solidFill>
                <a:latin typeface="Calibri"/>
              </a:rPr>
              <a:t> </a:t>
            </a:r>
          </a:p>
          <a:p>
            <a:pPr algn="ctr" defTabSz="1010286"/>
            <a:r>
              <a:rPr lang="en-US" sz="1200" dirty="0">
                <a:solidFill>
                  <a:srgbClr val="000000"/>
                </a:solidFill>
                <a:latin typeface="Calibri"/>
              </a:rPr>
              <a:t>Coverage up to 100% of the Federal Poverty Level (FPL)</a:t>
            </a:r>
          </a:p>
        </p:txBody>
      </p:sp>
      <p:sp>
        <p:nvSpPr>
          <p:cNvPr id="23" name="Rectangle 22"/>
          <p:cNvSpPr/>
          <p:nvPr/>
        </p:nvSpPr>
        <p:spPr bwMode="auto">
          <a:xfrm>
            <a:off x="6553200" y="1218804"/>
            <a:ext cx="104504" cy="457596"/>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cxnSp>
        <p:nvCxnSpPr>
          <p:cNvPr id="24" name="Straight Connector 23"/>
          <p:cNvCxnSpPr/>
          <p:nvPr/>
        </p:nvCxnSpPr>
        <p:spPr bwMode="auto">
          <a:xfrm>
            <a:off x="6605452" y="1225343"/>
            <a:ext cx="0" cy="5708857"/>
          </a:xfrm>
          <a:prstGeom prst="line">
            <a:avLst/>
          </a:prstGeom>
          <a:noFill/>
          <a:ln w="25400" cap="flat" cmpd="sng" algn="ctr">
            <a:solidFill>
              <a:srgbClr val="FFC000"/>
            </a:solidFill>
            <a:prstDash val="solid"/>
            <a:round/>
            <a:headEnd type="none" w="med" len="med"/>
            <a:tailEnd type="none" w="med" len="med"/>
          </a:ln>
          <a:effectLst/>
        </p:spPr>
      </p:cxnSp>
      <p:sp>
        <p:nvSpPr>
          <p:cNvPr id="25" name="TextBox 24"/>
          <p:cNvSpPr txBox="1"/>
          <p:nvPr/>
        </p:nvSpPr>
        <p:spPr>
          <a:xfrm>
            <a:off x="7010400" y="1490732"/>
            <a:ext cx="2057400" cy="471359"/>
          </a:xfrm>
          <a:prstGeom prst="rect">
            <a:avLst/>
          </a:prstGeom>
          <a:solidFill>
            <a:schemeClr val="bg1">
              <a:lumMod val="95000"/>
            </a:schemeClr>
          </a:solidFill>
        </p:spPr>
        <p:txBody>
          <a:bodyPr wrap="square" lIns="101028" tIns="50520" rIns="101028" bIns="50520" rtlCol="0">
            <a:spAutoFit/>
          </a:bodyPr>
          <a:lstStyle/>
          <a:p>
            <a:pPr algn="ctr" defTabSz="1010286"/>
            <a:r>
              <a:rPr lang="en-US" sz="1200" b="1" dirty="0">
                <a:solidFill>
                  <a:srgbClr val="000000"/>
                </a:solidFill>
                <a:latin typeface="Calibri"/>
              </a:rPr>
              <a:t>Full Expansion</a:t>
            </a:r>
          </a:p>
          <a:p>
            <a:pPr algn="ctr" defTabSz="1010286"/>
            <a:r>
              <a:rPr lang="en-US" sz="1200" dirty="0">
                <a:solidFill>
                  <a:srgbClr val="000000"/>
                </a:solidFill>
                <a:latin typeface="Calibri"/>
              </a:rPr>
              <a:t>Coverage up to 138% FPL</a:t>
            </a:r>
          </a:p>
        </p:txBody>
      </p:sp>
      <p:sp>
        <p:nvSpPr>
          <p:cNvPr id="26" name="TextBox 25"/>
          <p:cNvSpPr txBox="1"/>
          <p:nvPr/>
        </p:nvSpPr>
        <p:spPr>
          <a:xfrm>
            <a:off x="4038600" y="1490732"/>
            <a:ext cx="2133600" cy="1025356"/>
          </a:xfrm>
          <a:prstGeom prst="rect">
            <a:avLst/>
          </a:prstGeom>
          <a:solidFill>
            <a:schemeClr val="bg1">
              <a:lumMod val="95000"/>
            </a:schemeClr>
          </a:solidFill>
        </p:spPr>
        <p:txBody>
          <a:bodyPr wrap="square" lIns="101028" tIns="50520" rIns="101028" bIns="50520" rtlCol="0">
            <a:spAutoFit/>
          </a:bodyPr>
          <a:lstStyle/>
          <a:p>
            <a:pPr algn="ctr"/>
            <a:r>
              <a:rPr lang="en-US" sz="1200" b="1" dirty="0">
                <a:latin typeface="+mj-lt"/>
              </a:rPr>
              <a:t>Expansion with Choice</a:t>
            </a:r>
          </a:p>
          <a:p>
            <a:pPr marL="285750" indent="-112713">
              <a:buFont typeface="Arial" panose="020B0604020202020204" pitchFamily="34" charset="0"/>
              <a:buChar char="•"/>
            </a:pPr>
            <a:r>
              <a:rPr lang="en-US" sz="1200" dirty="0">
                <a:latin typeface="+mj-lt"/>
              </a:rPr>
              <a:t>Coverage up to 100% FPL</a:t>
            </a:r>
          </a:p>
          <a:p>
            <a:pPr marL="285750" indent="-112713">
              <a:buFont typeface="Arial" panose="020B0604020202020204" pitchFamily="34" charset="0"/>
              <a:buChar char="•"/>
            </a:pPr>
            <a:r>
              <a:rPr lang="en-US" sz="1200" dirty="0">
                <a:latin typeface="+mj-lt"/>
              </a:rPr>
              <a:t>Choice of Medicaid or Marketplace coverage for &gt;100% and </a:t>
            </a:r>
            <a:r>
              <a:rPr lang="en-US" sz="1200" u="sng" dirty="0">
                <a:latin typeface="+mj-lt"/>
              </a:rPr>
              <a:t>&lt;</a:t>
            </a:r>
            <a:r>
              <a:rPr lang="en-US" sz="1200" dirty="0">
                <a:latin typeface="+mj-lt"/>
              </a:rPr>
              <a:t>138% FPL</a:t>
            </a:r>
          </a:p>
        </p:txBody>
      </p:sp>
      <p:sp>
        <p:nvSpPr>
          <p:cNvPr id="29" name="TextBox 28"/>
          <p:cNvSpPr txBox="1"/>
          <p:nvPr/>
        </p:nvSpPr>
        <p:spPr>
          <a:xfrm>
            <a:off x="457200" y="5715000"/>
            <a:ext cx="2479394" cy="1123712"/>
          </a:xfrm>
          <a:prstGeom prst="roundRect">
            <a:avLst/>
          </a:prstGeom>
          <a:solidFill>
            <a:schemeClr val="bg1">
              <a:lumMod val="85000"/>
            </a:schemeClr>
          </a:solidFill>
          <a:ln>
            <a:noFill/>
          </a:ln>
        </p:spPr>
        <p:txBody>
          <a:bodyPr wrap="square" rtlCol="0">
            <a:spAutoFit/>
          </a:bodyPr>
          <a:lstStyle/>
          <a:p>
            <a:pPr defTabSz="1010286"/>
            <a:r>
              <a:rPr lang="en-US" sz="1200" b="1" dirty="0">
                <a:solidFill>
                  <a:srgbClr val="000000"/>
                </a:solidFill>
                <a:latin typeface="Calibri"/>
              </a:rPr>
              <a:t>Submission Process: </a:t>
            </a:r>
          </a:p>
          <a:p>
            <a:pPr marL="115888" indent="-115888" defTabSz="1010286">
              <a:buFont typeface="Arial" panose="020B0604020202020204" pitchFamily="34" charset="0"/>
              <a:buChar char="•"/>
            </a:pPr>
            <a:r>
              <a:rPr lang="en-US" sz="1200" dirty="0">
                <a:solidFill>
                  <a:srgbClr val="000000"/>
                </a:solidFill>
                <a:latin typeface="Calibri"/>
              </a:rPr>
              <a:t>Prepare application (both)</a:t>
            </a:r>
          </a:p>
          <a:p>
            <a:pPr marL="115888" indent="-115888" defTabSz="1010286">
              <a:buFont typeface="Arial" panose="020B0604020202020204" pitchFamily="34" charset="0"/>
              <a:buChar char="•"/>
            </a:pPr>
            <a:r>
              <a:rPr lang="en-US" sz="1200" dirty="0">
                <a:solidFill>
                  <a:srgbClr val="000000"/>
                </a:solidFill>
                <a:latin typeface="Calibri"/>
              </a:rPr>
              <a:t>Tribal consultation (both)</a:t>
            </a:r>
          </a:p>
          <a:p>
            <a:pPr marL="115888" indent="-115888" defTabSz="1010286">
              <a:buFont typeface="Arial" panose="020B0604020202020204" pitchFamily="34" charset="0"/>
              <a:buChar char="•"/>
            </a:pPr>
            <a:r>
              <a:rPr lang="en-US" sz="1200" dirty="0">
                <a:solidFill>
                  <a:srgbClr val="000000"/>
                </a:solidFill>
                <a:latin typeface="Calibri"/>
              </a:rPr>
              <a:t>Public notice (both)</a:t>
            </a:r>
          </a:p>
          <a:p>
            <a:pPr marL="115888" indent="-115888" defTabSz="1010286">
              <a:buFont typeface="Arial" panose="020B0604020202020204" pitchFamily="34" charset="0"/>
              <a:buChar char="•"/>
            </a:pPr>
            <a:r>
              <a:rPr lang="en-US" sz="1200" dirty="0">
                <a:solidFill>
                  <a:srgbClr val="000000"/>
                </a:solidFill>
                <a:latin typeface="Calibri"/>
              </a:rPr>
              <a:t>Actuarial analysis (1332 waiver)</a:t>
            </a:r>
          </a:p>
        </p:txBody>
      </p:sp>
      <p:graphicFrame>
        <p:nvGraphicFramePr>
          <p:cNvPr id="32" name="Content Placeholder 8"/>
          <p:cNvGraphicFramePr>
            <a:graphicFrameLocks/>
          </p:cNvGraphicFramePr>
          <p:nvPr>
            <p:extLst>
              <p:ext uri="{D42A27DB-BD31-4B8C-83A1-F6EECF244321}">
                <p14:modId xmlns:p14="http://schemas.microsoft.com/office/powerpoint/2010/main" val="3867483245"/>
              </p:ext>
            </p:extLst>
          </p:nvPr>
        </p:nvGraphicFramePr>
        <p:xfrm>
          <a:off x="762000" y="2819400"/>
          <a:ext cx="2667000" cy="2135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3" name="TextBox 32"/>
          <p:cNvSpPr txBox="1"/>
          <p:nvPr/>
        </p:nvSpPr>
        <p:spPr>
          <a:xfrm>
            <a:off x="792760" y="1194692"/>
            <a:ext cx="2712439" cy="323165"/>
          </a:xfrm>
          <a:prstGeom prst="rect">
            <a:avLst/>
          </a:prstGeom>
          <a:noFill/>
        </p:spPr>
        <p:txBody>
          <a:bodyPr wrap="square" rtlCol="0">
            <a:spAutoFit/>
          </a:bodyPr>
          <a:lstStyle/>
          <a:p>
            <a:pPr algn="ctr"/>
            <a:r>
              <a:rPr lang="en-US" sz="1500" b="1" dirty="0">
                <a:solidFill>
                  <a:schemeClr val="bg1"/>
                </a:solidFill>
                <a:latin typeface="+mn-lt"/>
              </a:rPr>
              <a:t>Stage 1</a:t>
            </a:r>
            <a:endParaRPr lang="en-US" sz="1500" dirty="0">
              <a:solidFill>
                <a:schemeClr val="bg1"/>
              </a:solidFill>
              <a:latin typeface="+mn-lt"/>
            </a:endParaRPr>
          </a:p>
        </p:txBody>
      </p:sp>
      <p:sp>
        <p:nvSpPr>
          <p:cNvPr id="34" name="TextBox 33"/>
          <p:cNvSpPr txBox="1"/>
          <p:nvPr/>
        </p:nvSpPr>
        <p:spPr>
          <a:xfrm>
            <a:off x="3709852" y="1200835"/>
            <a:ext cx="2816013" cy="323165"/>
          </a:xfrm>
          <a:prstGeom prst="rect">
            <a:avLst/>
          </a:prstGeom>
          <a:noFill/>
        </p:spPr>
        <p:txBody>
          <a:bodyPr wrap="square" rtlCol="0">
            <a:spAutoFit/>
          </a:bodyPr>
          <a:lstStyle/>
          <a:p>
            <a:pPr algn="ctr"/>
            <a:r>
              <a:rPr lang="en-US" sz="1500" b="1" dirty="0">
                <a:solidFill>
                  <a:schemeClr val="bg1"/>
                </a:solidFill>
                <a:latin typeface="+mn-lt"/>
              </a:rPr>
              <a:t>Stage 2</a:t>
            </a:r>
            <a:endParaRPr lang="en-US" sz="1500" dirty="0">
              <a:solidFill>
                <a:schemeClr val="bg1"/>
              </a:solidFill>
              <a:latin typeface="+mn-lt"/>
            </a:endParaRPr>
          </a:p>
        </p:txBody>
      </p:sp>
      <p:sp>
        <p:nvSpPr>
          <p:cNvPr id="35" name="TextBox 34"/>
          <p:cNvSpPr txBox="1"/>
          <p:nvPr/>
        </p:nvSpPr>
        <p:spPr>
          <a:xfrm>
            <a:off x="6733905" y="1194680"/>
            <a:ext cx="2638696" cy="323165"/>
          </a:xfrm>
          <a:prstGeom prst="rect">
            <a:avLst/>
          </a:prstGeom>
          <a:noFill/>
        </p:spPr>
        <p:txBody>
          <a:bodyPr wrap="square" rtlCol="0">
            <a:spAutoFit/>
          </a:bodyPr>
          <a:lstStyle/>
          <a:p>
            <a:pPr algn="ctr"/>
            <a:r>
              <a:rPr lang="en-US" sz="1500" b="1" dirty="0">
                <a:solidFill>
                  <a:schemeClr val="bg1"/>
                </a:solidFill>
                <a:latin typeface="+mn-lt"/>
              </a:rPr>
              <a:t>Stage 3</a:t>
            </a:r>
            <a:endParaRPr lang="en-US" sz="1500" dirty="0">
              <a:solidFill>
                <a:schemeClr val="bg1"/>
              </a:solidFill>
              <a:latin typeface="+mn-lt"/>
            </a:endParaRPr>
          </a:p>
        </p:txBody>
      </p:sp>
      <p:graphicFrame>
        <p:nvGraphicFramePr>
          <p:cNvPr id="36" name="Content Placeholder 8"/>
          <p:cNvGraphicFramePr>
            <a:graphicFrameLocks/>
          </p:cNvGraphicFramePr>
          <p:nvPr>
            <p:extLst>
              <p:ext uri="{D42A27DB-BD31-4B8C-83A1-F6EECF244321}">
                <p14:modId xmlns:p14="http://schemas.microsoft.com/office/powerpoint/2010/main" val="1131256854"/>
              </p:ext>
            </p:extLst>
          </p:nvPr>
        </p:nvGraphicFramePr>
        <p:xfrm>
          <a:off x="3733800" y="2819400"/>
          <a:ext cx="2667000" cy="21357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37" name="Content Placeholder 8"/>
          <p:cNvGraphicFramePr>
            <a:graphicFrameLocks/>
          </p:cNvGraphicFramePr>
          <p:nvPr>
            <p:extLst>
              <p:ext uri="{D42A27DB-BD31-4B8C-83A1-F6EECF244321}">
                <p14:modId xmlns:p14="http://schemas.microsoft.com/office/powerpoint/2010/main" val="195877636"/>
              </p:ext>
            </p:extLst>
          </p:nvPr>
        </p:nvGraphicFramePr>
        <p:xfrm>
          <a:off x="6934200" y="2834640"/>
          <a:ext cx="2667000" cy="21357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cxnSp>
        <p:nvCxnSpPr>
          <p:cNvPr id="3" name="Straight Connector 2"/>
          <p:cNvCxnSpPr/>
          <p:nvPr/>
        </p:nvCxnSpPr>
        <p:spPr bwMode="auto">
          <a:xfrm>
            <a:off x="672324" y="5583704"/>
            <a:ext cx="7785876" cy="0"/>
          </a:xfrm>
          <a:prstGeom prst="line">
            <a:avLst/>
          </a:prstGeom>
          <a:noFill/>
          <a:ln w="19050" cap="flat" cmpd="sng" algn="ctr">
            <a:solidFill>
              <a:srgbClr val="FF0000"/>
            </a:solidFill>
            <a:prstDash val="lgDash"/>
            <a:miter lim="800000"/>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Rounded Rectangle 5"/>
          <p:cNvSpPr/>
          <p:nvPr/>
        </p:nvSpPr>
        <p:spPr bwMode="auto">
          <a:xfrm>
            <a:off x="8458200" y="5029201"/>
            <a:ext cx="1066800" cy="1148488"/>
          </a:xfrm>
          <a:prstGeom prst="roundRect">
            <a:avLst/>
          </a:prstGeom>
          <a:solidFill>
            <a:srgbClr val="FF0000"/>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4" name="TextBox 3"/>
          <p:cNvSpPr txBox="1"/>
          <p:nvPr/>
        </p:nvSpPr>
        <p:spPr>
          <a:xfrm>
            <a:off x="8458200" y="5061999"/>
            <a:ext cx="1066800" cy="1115690"/>
          </a:xfrm>
          <a:prstGeom prst="rect">
            <a:avLst/>
          </a:prstGeom>
          <a:noFill/>
        </p:spPr>
        <p:txBody>
          <a:bodyPr wrap="square" rtlCol="0">
            <a:spAutoFit/>
          </a:bodyPr>
          <a:lstStyle/>
          <a:p>
            <a:pPr algn="ctr"/>
            <a:r>
              <a:rPr lang="en-US" sz="950" b="1" dirty="0">
                <a:solidFill>
                  <a:schemeClr val="bg1"/>
                </a:solidFill>
                <a:latin typeface="+mn-lt"/>
              </a:rPr>
              <a:t>*No time limit for 1115 waiver decisions (unlike 1332 waivers, which must be decided </a:t>
            </a:r>
            <a:r>
              <a:rPr lang="en-US" sz="950" b="1" u="sng" dirty="0">
                <a:solidFill>
                  <a:schemeClr val="bg1"/>
                </a:solidFill>
                <a:latin typeface="+mn-lt"/>
              </a:rPr>
              <a:t>&lt;</a:t>
            </a:r>
            <a:r>
              <a:rPr lang="en-US" sz="950" b="1" dirty="0">
                <a:solidFill>
                  <a:schemeClr val="bg1"/>
                </a:solidFill>
                <a:latin typeface="+mn-lt"/>
              </a:rPr>
              <a:t> 180 days)</a:t>
            </a:r>
          </a:p>
        </p:txBody>
      </p:sp>
      <p:sp>
        <p:nvSpPr>
          <p:cNvPr id="2" name="Footer Placeholder 1"/>
          <p:cNvSpPr>
            <a:spLocks noGrp="1"/>
          </p:cNvSpPr>
          <p:nvPr>
            <p:ph type="ftr" sz="quarter" idx="10"/>
          </p:nvPr>
        </p:nvSpPr>
        <p:spPr/>
        <p:txBody>
          <a:bodyPr/>
          <a:lstStyle/>
          <a:p>
            <a:r>
              <a:rPr lang="en-US" altLang="en-US" dirty="0"/>
              <a:t>Medicaid Expansion Council Meeting | Kansas Expansion</a:t>
            </a:r>
          </a:p>
        </p:txBody>
      </p:sp>
      <p:sp>
        <p:nvSpPr>
          <p:cNvPr id="38" name="TextBox 37"/>
          <p:cNvSpPr txBox="1"/>
          <p:nvPr/>
        </p:nvSpPr>
        <p:spPr>
          <a:xfrm>
            <a:off x="3124200" y="5715000"/>
            <a:ext cx="4648200" cy="1123712"/>
          </a:xfrm>
          <a:prstGeom prst="roundRect">
            <a:avLst/>
          </a:prstGeom>
          <a:solidFill>
            <a:schemeClr val="bg1">
              <a:lumMod val="85000"/>
            </a:schemeClr>
          </a:solidFill>
          <a:ln w="9525">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defTabSz="1010286"/>
            <a:r>
              <a:rPr lang="en-US" sz="1200" b="1" dirty="0">
                <a:solidFill>
                  <a:srgbClr val="000000"/>
                </a:solidFill>
              </a:rPr>
              <a:t>Subsequent Submissions: </a:t>
            </a:r>
            <a:r>
              <a:rPr lang="en-US" sz="1200" dirty="0">
                <a:solidFill>
                  <a:schemeClr val="tx1"/>
                </a:solidFill>
              </a:rPr>
              <a:t>If Kansas submits new waiver requests at each stage, the state would have to undergo new submission procedures (e.g., public notice)</a:t>
            </a:r>
            <a:r>
              <a:rPr lang="en-US" sz="1200" dirty="0">
                <a:solidFill>
                  <a:schemeClr val="tx1"/>
                </a:solidFill>
                <a:latin typeface="Calibri"/>
              </a:rPr>
              <a:t>. </a:t>
            </a:r>
            <a:r>
              <a:rPr lang="en-US" sz="1200" baseline="30000" dirty="0">
                <a:solidFill>
                  <a:schemeClr val="tx1"/>
                </a:solidFill>
                <a:latin typeface="Calibri"/>
              </a:rPr>
              <a:t>1</a:t>
            </a:r>
            <a:r>
              <a:rPr lang="en-US" sz="1200" dirty="0">
                <a:solidFill>
                  <a:schemeClr val="tx1"/>
                </a:solidFill>
              </a:rPr>
              <a:t> While it may not be necessary to do this for all of the steps, to move to Stage 2 seeking “choice”, it appears a new 1332 waiver request and actuarial analysis would be needed.</a:t>
            </a:r>
          </a:p>
        </p:txBody>
      </p:sp>
    </p:spTree>
    <p:extLst>
      <p:ext uri="{BB962C8B-B14F-4D97-AF65-F5344CB8AC3E}">
        <p14:creationId xmlns:p14="http://schemas.microsoft.com/office/powerpoint/2010/main" val="686365714"/>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57199" y="1161414"/>
            <a:ext cx="9138214" cy="12007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6" name="Rectangle 25"/>
          <p:cNvSpPr/>
          <p:nvPr/>
        </p:nvSpPr>
        <p:spPr bwMode="auto">
          <a:xfrm>
            <a:off x="457200" y="5733414"/>
            <a:ext cx="9138214" cy="12007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3" name="Rectangle 22"/>
          <p:cNvSpPr/>
          <p:nvPr/>
        </p:nvSpPr>
        <p:spPr bwMode="auto">
          <a:xfrm>
            <a:off x="462986" y="3505200"/>
            <a:ext cx="9138214" cy="12007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7" name="Title 6"/>
          <p:cNvSpPr>
            <a:spLocks noGrp="1"/>
          </p:cNvSpPr>
          <p:nvPr>
            <p:ph type="title"/>
          </p:nvPr>
        </p:nvSpPr>
        <p:spPr/>
        <p:txBody>
          <a:bodyPr/>
          <a:lstStyle/>
          <a:p>
            <a:r>
              <a:rPr lang="en-US" dirty="0"/>
              <a:t>Mapping Out Step 1</a:t>
            </a:r>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3793917648"/>
              </p:ext>
            </p:extLst>
          </p:nvPr>
        </p:nvGraphicFramePr>
        <p:xfrm>
          <a:off x="457200" y="1295400"/>
          <a:ext cx="76200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7696200" y="3657600"/>
            <a:ext cx="762000" cy="1938992"/>
          </a:xfrm>
          <a:prstGeom prst="rect">
            <a:avLst/>
          </a:prstGeom>
          <a:noFill/>
          <a:ln>
            <a:solidFill>
              <a:schemeClr val="tx1"/>
            </a:solidFill>
          </a:ln>
        </p:spPr>
        <p:txBody>
          <a:bodyPr wrap="square" rtlCol="0">
            <a:spAutoFit/>
          </a:bodyPr>
          <a:lstStyle/>
          <a:p>
            <a:pPr algn="ctr"/>
            <a:endParaRPr lang="en-US" sz="900" b="1" i="1" dirty="0">
              <a:latin typeface="+mn-lt"/>
            </a:endParaRPr>
          </a:p>
          <a:p>
            <a:pPr algn="ctr"/>
            <a:endParaRPr lang="en-US" sz="900" b="1" i="1" dirty="0">
              <a:latin typeface="+mn-lt"/>
            </a:endParaRPr>
          </a:p>
          <a:p>
            <a:pPr algn="ctr"/>
            <a:endParaRPr lang="en-US" sz="1200" b="1" i="1" dirty="0">
              <a:latin typeface="+mn-lt"/>
            </a:endParaRPr>
          </a:p>
          <a:p>
            <a:pPr algn="ctr"/>
            <a:r>
              <a:rPr lang="en-US" sz="950" b="1" i="1" dirty="0">
                <a:latin typeface="+mn-lt"/>
              </a:rPr>
              <a:t>Outcomes unlikely </a:t>
            </a:r>
            <a:r>
              <a:rPr lang="en-US" sz="950" i="1" dirty="0">
                <a:latin typeface="+mn-lt"/>
              </a:rPr>
              <a:t>(see denial of Utah 1115 waiver) </a:t>
            </a:r>
            <a:r>
              <a:rPr lang="en-US" sz="950" i="1" baseline="30000" dirty="0">
                <a:latin typeface="+mn-lt"/>
              </a:rPr>
              <a:t>2</a:t>
            </a:r>
            <a:endParaRPr lang="en-US" sz="1100" b="1" i="1" baseline="30000" dirty="0">
              <a:latin typeface="+mn-lt"/>
            </a:endParaRPr>
          </a:p>
          <a:p>
            <a:pPr algn="ctr"/>
            <a:endParaRPr lang="en-US" sz="1100" b="1" i="1" dirty="0">
              <a:latin typeface="+mn-lt"/>
            </a:endParaRPr>
          </a:p>
          <a:p>
            <a:pPr algn="ctr"/>
            <a:endParaRPr lang="en-US" sz="1100" b="1" i="1" dirty="0">
              <a:latin typeface="+mn-lt"/>
            </a:endParaRPr>
          </a:p>
          <a:p>
            <a:pPr algn="ctr"/>
            <a:endParaRPr lang="en-US" sz="1100" b="1" dirty="0">
              <a:latin typeface="+mn-lt"/>
            </a:endParaRPr>
          </a:p>
        </p:txBody>
      </p:sp>
      <p:sp>
        <p:nvSpPr>
          <p:cNvPr id="11" name="Oval 10"/>
          <p:cNvSpPr/>
          <p:nvPr/>
        </p:nvSpPr>
        <p:spPr bwMode="auto">
          <a:xfrm>
            <a:off x="685800" y="15240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2" name="TextBox 11"/>
          <p:cNvSpPr txBox="1"/>
          <p:nvPr/>
        </p:nvSpPr>
        <p:spPr>
          <a:xfrm>
            <a:off x="701040" y="1701552"/>
            <a:ext cx="746760" cy="261610"/>
          </a:xfrm>
          <a:prstGeom prst="rect">
            <a:avLst/>
          </a:prstGeom>
          <a:noFill/>
        </p:spPr>
        <p:txBody>
          <a:bodyPr wrap="square" rtlCol="0">
            <a:spAutoFit/>
          </a:bodyPr>
          <a:lstStyle/>
          <a:p>
            <a:pPr algn="ctr"/>
            <a:r>
              <a:rPr lang="en-US" sz="1100" b="1" dirty="0">
                <a:latin typeface="+mn-lt"/>
              </a:rPr>
              <a:t>A</a:t>
            </a:r>
          </a:p>
        </p:txBody>
      </p:sp>
      <p:sp>
        <p:nvSpPr>
          <p:cNvPr id="13" name="Oval 12"/>
          <p:cNvSpPr/>
          <p:nvPr/>
        </p:nvSpPr>
        <p:spPr bwMode="auto">
          <a:xfrm>
            <a:off x="685800" y="25908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4" name="TextBox 13"/>
          <p:cNvSpPr txBox="1"/>
          <p:nvPr/>
        </p:nvSpPr>
        <p:spPr>
          <a:xfrm>
            <a:off x="701040" y="2768352"/>
            <a:ext cx="746760" cy="261610"/>
          </a:xfrm>
          <a:prstGeom prst="rect">
            <a:avLst/>
          </a:prstGeom>
          <a:noFill/>
        </p:spPr>
        <p:txBody>
          <a:bodyPr wrap="square" rtlCol="0">
            <a:spAutoFit/>
          </a:bodyPr>
          <a:lstStyle/>
          <a:p>
            <a:pPr algn="ctr"/>
            <a:r>
              <a:rPr lang="en-US" sz="1100" b="1" dirty="0">
                <a:latin typeface="+mn-lt"/>
              </a:rPr>
              <a:t>B</a:t>
            </a:r>
          </a:p>
        </p:txBody>
      </p:sp>
      <p:sp>
        <p:nvSpPr>
          <p:cNvPr id="17" name="Oval 16"/>
          <p:cNvSpPr/>
          <p:nvPr/>
        </p:nvSpPr>
        <p:spPr bwMode="auto">
          <a:xfrm>
            <a:off x="685800" y="3777614"/>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8" name="TextBox 17"/>
          <p:cNvSpPr txBox="1"/>
          <p:nvPr/>
        </p:nvSpPr>
        <p:spPr>
          <a:xfrm>
            <a:off x="701040" y="3955166"/>
            <a:ext cx="746760" cy="261610"/>
          </a:xfrm>
          <a:prstGeom prst="rect">
            <a:avLst/>
          </a:prstGeom>
          <a:noFill/>
        </p:spPr>
        <p:txBody>
          <a:bodyPr wrap="square" rtlCol="0">
            <a:spAutoFit/>
          </a:bodyPr>
          <a:lstStyle/>
          <a:p>
            <a:pPr algn="ctr"/>
            <a:r>
              <a:rPr lang="en-US" sz="1100" b="1" dirty="0">
                <a:latin typeface="+mn-lt"/>
              </a:rPr>
              <a:t>C</a:t>
            </a:r>
          </a:p>
        </p:txBody>
      </p:sp>
      <p:sp>
        <p:nvSpPr>
          <p:cNvPr id="19" name="Oval 18"/>
          <p:cNvSpPr/>
          <p:nvPr/>
        </p:nvSpPr>
        <p:spPr bwMode="auto">
          <a:xfrm>
            <a:off x="685800" y="4844414"/>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20" name="TextBox 19"/>
          <p:cNvSpPr txBox="1"/>
          <p:nvPr/>
        </p:nvSpPr>
        <p:spPr>
          <a:xfrm>
            <a:off x="731520" y="5078343"/>
            <a:ext cx="746760" cy="261610"/>
          </a:xfrm>
          <a:prstGeom prst="rect">
            <a:avLst/>
          </a:prstGeom>
          <a:noFill/>
        </p:spPr>
        <p:txBody>
          <a:bodyPr wrap="square" rtlCol="0">
            <a:spAutoFit/>
          </a:bodyPr>
          <a:lstStyle/>
          <a:p>
            <a:pPr algn="ctr"/>
            <a:r>
              <a:rPr lang="en-US" sz="1100" b="1" dirty="0">
                <a:latin typeface="+mn-lt"/>
              </a:rPr>
              <a:t>D</a:t>
            </a:r>
            <a:endParaRPr lang="en-US" sz="1100" b="1" dirty="0">
              <a:latin typeface="+mj-lt"/>
            </a:endParaRPr>
          </a:p>
        </p:txBody>
      </p:sp>
      <p:sp>
        <p:nvSpPr>
          <p:cNvPr id="21" name="Oval 20"/>
          <p:cNvSpPr/>
          <p:nvPr/>
        </p:nvSpPr>
        <p:spPr bwMode="auto">
          <a:xfrm>
            <a:off x="685800" y="60198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22" name="TextBox 21"/>
          <p:cNvSpPr txBox="1"/>
          <p:nvPr/>
        </p:nvSpPr>
        <p:spPr>
          <a:xfrm>
            <a:off x="701040" y="6197352"/>
            <a:ext cx="746760" cy="261610"/>
          </a:xfrm>
          <a:prstGeom prst="rect">
            <a:avLst/>
          </a:prstGeom>
          <a:noFill/>
        </p:spPr>
        <p:txBody>
          <a:bodyPr wrap="square" rtlCol="0">
            <a:spAutoFit/>
          </a:bodyPr>
          <a:lstStyle/>
          <a:p>
            <a:pPr algn="ctr"/>
            <a:r>
              <a:rPr lang="en-US" sz="1100" b="1" dirty="0">
                <a:latin typeface="+mn-lt"/>
              </a:rPr>
              <a:t>E</a:t>
            </a:r>
          </a:p>
        </p:txBody>
      </p:sp>
      <p:sp>
        <p:nvSpPr>
          <p:cNvPr id="33" name="Right Arrow 32"/>
          <p:cNvSpPr/>
          <p:nvPr/>
        </p:nvSpPr>
        <p:spPr bwMode="auto">
          <a:xfrm>
            <a:off x="4876800" y="1676400"/>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4" name="Right Arrow 33"/>
          <p:cNvSpPr/>
          <p:nvPr/>
        </p:nvSpPr>
        <p:spPr bwMode="auto">
          <a:xfrm>
            <a:off x="4876800" y="2770445"/>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5" name="Right Arrow 34"/>
          <p:cNvSpPr/>
          <p:nvPr/>
        </p:nvSpPr>
        <p:spPr bwMode="auto">
          <a:xfrm>
            <a:off x="4876800" y="3989645"/>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cxnSp>
        <p:nvCxnSpPr>
          <p:cNvPr id="38" name="Straight Connector 37"/>
          <p:cNvCxnSpPr/>
          <p:nvPr/>
        </p:nvCxnSpPr>
        <p:spPr bwMode="auto">
          <a:xfrm>
            <a:off x="1752600" y="1033655"/>
            <a:ext cx="0" cy="5900545"/>
          </a:xfrm>
          <a:prstGeom prst="line">
            <a:avLst/>
          </a:prstGeom>
          <a:noFill/>
          <a:ln w="25400" cap="flat" cmpd="sng" algn="ctr">
            <a:solidFill>
              <a:srgbClr val="FFC000"/>
            </a:solidFill>
            <a:prstDash val="solid"/>
            <a:round/>
            <a:headEnd type="none" w="med" len="med"/>
            <a:tailEnd type="none" w="med" len="med"/>
          </a:ln>
          <a:effectLst/>
        </p:spPr>
      </p:cxnSp>
      <p:sp>
        <p:nvSpPr>
          <p:cNvPr id="36" name="Right Arrow 35"/>
          <p:cNvSpPr/>
          <p:nvPr/>
        </p:nvSpPr>
        <p:spPr bwMode="auto">
          <a:xfrm>
            <a:off x="4876800" y="5056445"/>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7" name="Right Arrow 36"/>
          <p:cNvSpPr/>
          <p:nvPr/>
        </p:nvSpPr>
        <p:spPr bwMode="auto">
          <a:xfrm>
            <a:off x="4876800" y="6199445"/>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6" name="Right Arrow 5"/>
          <p:cNvSpPr/>
          <p:nvPr/>
        </p:nvSpPr>
        <p:spPr bwMode="auto">
          <a:xfrm>
            <a:off x="457200" y="912494"/>
            <a:ext cx="9138213" cy="50292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8" name="Right Arrow 27"/>
          <p:cNvSpPr/>
          <p:nvPr/>
        </p:nvSpPr>
        <p:spPr bwMode="auto">
          <a:xfrm>
            <a:off x="2362200" y="966787"/>
            <a:ext cx="2362201" cy="394334"/>
          </a:xfrm>
          <a:prstGeom prst="rightArrow">
            <a:avLst/>
          </a:prstGeom>
          <a:solidFill>
            <a:srgbClr val="FF0000"/>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9" name="TextBox 28"/>
          <p:cNvSpPr txBox="1"/>
          <p:nvPr/>
        </p:nvSpPr>
        <p:spPr>
          <a:xfrm>
            <a:off x="2367281" y="1042988"/>
            <a:ext cx="2209800" cy="238527"/>
          </a:xfrm>
          <a:prstGeom prst="rect">
            <a:avLst/>
          </a:prstGeom>
          <a:noFill/>
        </p:spPr>
        <p:txBody>
          <a:bodyPr wrap="square" rtlCol="0">
            <a:spAutoFit/>
          </a:bodyPr>
          <a:lstStyle/>
          <a:p>
            <a:pPr algn="ctr"/>
            <a:r>
              <a:rPr lang="en-US" sz="950" b="1" dirty="0">
                <a:solidFill>
                  <a:schemeClr val="bg1"/>
                </a:solidFill>
                <a:latin typeface="+mn-lt"/>
              </a:rPr>
              <a:t>No time limit for 1115 waiver approvals</a:t>
            </a:r>
          </a:p>
        </p:txBody>
      </p:sp>
      <p:sp>
        <p:nvSpPr>
          <p:cNvPr id="2" name="Footer Placeholder 1"/>
          <p:cNvSpPr>
            <a:spLocks noGrp="1"/>
          </p:cNvSpPr>
          <p:nvPr>
            <p:ph type="ftr" sz="quarter" idx="10"/>
          </p:nvPr>
        </p:nvSpPr>
        <p:spPr/>
        <p:txBody>
          <a:bodyPr/>
          <a:lstStyle/>
          <a:p>
            <a:r>
              <a:rPr lang="en-US" altLang="en-US" dirty="0"/>
              <a:t>Medicaid Expansion Council Meeting | Kansas Expansion</a:t>
            </a:r>
          </a:p>
        </p:txBody>
      </p:sp>
      <p:sp>
        <p:nvSpPr>
          <p:cNvPr id="30" name="TextBox 29"/>
          <p:cNvSpPr txBox="1"/>
          <p:nvPr/>
        </p:nvSpPr>
        <p:spPr>
          <a:xfrm>
            <a:off x="457199" y="1019905"/>
            <a:ext cx="1676401" cy="261610"/>
          </a:xfrm>
          <a:prstGeom prst="rect">
            <a:avLst/>
          </a:prstGeom>
          <a:noFill/>
        </p:spPr>
        <p:txBody>
          <a:bodyPr wrap="square" rtlCol="0">
            <a:spAutoFit/>
          </a:bodyPr>
          <a:lstStyle/>
          <a:p>
            <a:r>
              <a:rPr lang="en-US" sz="1100" b="1" dirty="0">
                <a:solidFill>
                  <a:schemeClr val="bg1"/>
                </a:solidFill>
                <a:latin typeface="+mn-lt"/>
              </a:rPr>
              <a:t>Potential Outcomes</a:t>
            </a:r>
          </a:p>
        </p:txBody>
      </p:sp>
      <p:sp>
        <p:nvSpPr>
          <p:cNvPr id="31" name="TextBox 30"/>
          <p:cNvSpPr txBox="1"/>
          <p:nvPr/>
        </p:nvSpPr>
        <p:spPr>
          <a:xfrm>
            <a:off x="8382001" y="4724400"/>
            <a:ext cx="1213412" cy="969496"/>
          </a:xfrm>
          <a:prstGeom prst="rect">
            <a:avLst/>
          </a:prstGeom>
          <a:noFill/>
        </p:spPr>
        <p:txBody>
          <a:bodyPr wrap="square" rtlCol="0">
            <a:spAutoFit/>
          </a:bodyPr>
          <a:lstStyle/>
          <a:p>
            <a:pPr algn="ctr"/>
            <a:r>
              <a:rPr lang="en-US" sz="950" i="1" dirty="0">
                <a:latin typeface="+mj-lt"/>
              </a:rPr>
              <a:t>If approval is on or after 1/1/21, state may begin implementation;</a:t>
            </a:r>
            <a:r>
              <a:rPr lang="en-US" sz="950" b="1" i="1" dirty="0">
                <a:latin typeface="+mj-lt"/>
              </a:rPr>
              <a:t> </a:t>
            </a:r>
            <a:r>
              <a:rPr lang="en-US" sz="950" i="1" dirty="0">
                <a:latin typeface="+mj-lt"/>
              </a:rPr>
              <a:t>unlikely</a:t>
            </a:r>
            <a:r>
              <a:rPr lang="en-US" sz="950" b="1" i="1" dirty="0">
                <a:latin typeface="+mj-lt"/>
              </a:rPr>
              <a:t> </a:t>
            </a:r>
            <a:r>
              <a:rPr lang="en-US" sz="950" i="1" dirty="0">
                <a:latin typeface="+mj-lt"/>
              </a:rPr>
              <a:t>given 180-day time limit. </a:t>
            </a:r>
            <a:r>
              <a:rPr lang="en-US" sz="950" i="1" baseline="30000" dirty="0">
                <a:latin typeface="+mj-lt"/>
              </a:rPr>
              <a:t>3</a:t>
            </a:r>
            <a:endParaRPr lang="en-US" sz="950" b="1" dirty="0">
              <a:latin typeface="+mj-lt"/>
            </a:endParaRPr>
          </a:p>
        </p:txBody>
      </p:sp>
    </p:spTree>
    <p:extLst>
      <p:ext uri="{BB962C8B-B14F-4D97-AF65-F5344CB8AC3E}">
        <p14:creationId xmlns:p14="http://schemas.microsoft.com/office/powerpoint/2010/main" val="2049907058"/>
      </p:ext>
    </p:extLst>
  </p:cSld>
  <p:clrMapOvr>
    <a:masterClrMapping/>
  </p:clrMapOvr>
  <p:transition spd="slow">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57198" y="1161414"/>
            <a:ext cx="9144001" cy="12007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6" name="Rectangle 25"/>
          <p:cNvSpPr/>
          <p:nvPr/>
        </p:nvSpPr>
        <p:spPr bwMode="auto">
          <a:xfrm>
            <a:off x="457199" y="5733414"/>
            <a:ext cx="9144001" cy="12007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3" name="Rectangle 22"/>
          <p:cNvSpPr/>
          <p:nvPr/>
        </p:nvSpPr>
        <p:spPr bwMode="auto">
          <a:xfrm>
            <a:off x="462985" y="3505200"/>
            <a:ext cx="9144001" cy="12007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7" name="Title 6"/>
          <p:cNvSpPr>
            <a:spLocks noGrp="1"/>
          </p:cNvSpPr>
          <p:nvPr>
            <p:ph type="title"/>
          </p:nvPr>
        </p:nvSpPr>
        <p:spPr/>
        <p:txBody>
          <a:bodyPr/>
          <a:lstStyle/>
          <a:p>
            <a:r>
              <a:rPr lang="en-US" dirty="0"/>
              <a:t>Mapping Out Step 2</a:t>
            </a:r>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2901512082"/>
              </p:ext>
            </p:extLst>
          </p:nvPr>
        </p:nvGraphicFramePr>
        <p:xfrm>
          <a:off x="685800" y="1295400"/>
          <a:ext cx="71628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8077200" y="3657600"/>
            <a:ext cx="1295400" cy="3016210"/>
          </a:xfrm>
          <a:prstGeom prst="rect">
            <a:avLst/>
          </a:prstGeom>
          <a:noFill/>
          <a:ln>
            <a:solidFill>
              <a:schemeClr val="tx1"/>
            </a:solidFill>
          </a:ln>
        </p:spPr>
        <p:txBody>
          <a:bodyPr wrap="square" rtlCol="0">
            <a:spAutoFit/>
          </a:bodyPr>
          <a:lstStyle/>
          <a:p>
            <a:pPr algn="ctr"/>
            <a:endParaRPr lang="en-US" sz="950" b="1" i="1" dirty="0">
              <a:latin typeface="+mn-lt"/>
            </a:endParaRPr>
          </a:p>
          <a:p>
            <a:pPr algn="ctr"/>
            <a:endParaRPr lang="en-US" sz="950" b="1" i="1" dirty="0">
              <a:latin typeface="+mn-lt"/>
            </a:endParaRPr>
          </a:p>
          <a:p>
            <a:pPr algn="ctr"/>
            <a:endParaRPr lang="en-US" sz="950" b="1" i="1" dirty="0">
              <a:latin typeface="+mn-lt"/>
            </a:endParaRPr>
          </a:p>
          <a:p>
            <a:pPr algn="ctr"/>
            <a:endParaRPr lang="en-US" sz="950" b="1" i="1" dirty="0">
              <a:latin typeface="+mn-lt"/>
            </a:endParaRPr>
          </a:p>
          <a:p>
            <a:pPr algn="ctr"/>
            <a:r>
              <a:rPr lang="en-US" sz="950" b="1" i="1" dirty="0">
                <a:latin typeface="+mn-lt"/>
              </a:rPr>
              <a:t>Takeaway from Idaho</a:t>
            </a:r>
          </a:p>
          <a:p>
            <a:pPr algn="ctr"/>
            <a:r>
              <a:rPr lang="en-US" sz="950" i="1" dirty="0">
                <a:latin typeface="+mn-lt"/>
              </a:rPr>
              <a:t>CMS advised Idaho to pursue choice through a 1332 waiver and subsequently did not approve the Idaho waiver.  While a Kansas 1332 choice waiver may be structured differently, Idaho’s experience is instructive. </a:t>
            </a:r>
            <a:r>
              <a:rPr lang="en-US" sz="950" i="1" baseline="30000" dirty="0">
                <a:latin typeface="+mn-lt"/>
              </a:rPr>
              <a:t>4</a:t>
            </a:r>
          </a:p>
          <a:p>
            <a:pPr algn="ctr"/>
            <a:endParaRPr lang="en-US" sz="950" b="1" i="1" dirty="0">
              <a:latin typeface="+mn-lt"/>
            </a:endParaRPr>
          </a:p>
          <a:p>
            <a:pPr algn="ctr"/>
            <a:endParaRPr lang="en-US" sz="950" b="1" i="1" dirty="0">
              <a:latin typeface="+mn-lt"/>
            </a:endParaRPr>
          </a:p>
          <a:p>
            <a:pPr algn="ctr"/>
            <a:endParaRPr lang="en-US" sz="950" b="1" i="1" dirty="0">
              <a:latin typeface="+mn-lt"/>
            </a:endParaRPr>
          </a:p>
          <a:p>
            <a:pPr algn="ctr"/>
            <a:endParaRPr lang="en-US" sz="950" b="1" i="1" dirty="0">
              <a:latin typeface="+mn-lt"/>
            </a:endParaRPr>
          </a:p>
        </p:txBody>
      </p:sp>
      <p:sp>
        <p:nvSpPr>
          <p:cNvPr id="11" name="Oval 10"/>
          <p:cNvSpPr/>
          <p:nvPr/>
        </p:nvSpPr>
        <p:spPr bwMode="auto">
          <a:xfrm>
            <a:off x="685800" y="15240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2" name="TextBox 11"/>
          <p:cNvSpPr txBox="1"/>
          <p:nvPr/>
        </p:nvSpPr>
        <p:spPr>
          <a:xfrm>
            <a:off x="701040" y="1701552"/>
            <a:ext cx="746760" cy="261610"/>
          </a:xfrm>
          <a:prstGeom prst="rect">
            <a:avLst/>
          </a:prstGeom>
          <a:noFill/>
        </p:spPr>
        <p:txBody>
          <a:bodyPr wrap="square" rtlCol="0">
            <a:spAutoFit/>
          </a:bodyPr>
          <a:lstStyle/>
          <a:p>
            <a:pPr algn="ctr"/>
            <a:r>
              <a:rPr lang="en-US" sz="1100" b="1" dirty="0">
                <a:latin typeface="+mn-lt"/>
              </a:rPr>
              <a:t>A</a:t>
            </a:r>
          </a:p>
        </p:txBody>
      </p:sp>
      <p:sp>
        <p:nvSpPr>
          <p:cNvPr id="13" name="Oval 12"/>
          <p:cNvSpPr/>
          <p:nvPr/>
        </p:nvSpPr>
        <p:spPr bwMode="auto">
          <a:xfrm>
            <a:off x="685800" y="25908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4" name="TextBox 13"/>
          <p:cNvSpPr txBox="1"/>
          <p:nvPr/>
        </p:nvSpPr>
        <p:spPr>
          <a:xfrm>
            <a:off x="701040" y="2768352"/>
            <a:ext cx="746760" cy="261610"/>
          </a:xfrm>
          <a:prstGeom prst="rect">
            <a:avLst/>
          </a:prstGeom>
          <a:noFill/>
        </p:spPr>
        <p:txBody>
          <a:bodyPr wrap="square" rtlCol="0">
            <a:spAutoFit/>
          </a:bodyPr>
          <a:lstStyle/>
          <a:p>
            <a:pPr algn="ctr"/>
            <a:r>
              <a:rPr lang="en-US" sz="1100" b="1" dirty="0">
                <a:latin typeface="+mn-lt"/>
              </a:rPr>
              <a:t>B</a:t>
            </a:r>
          </a:p>
        </p:txBody>
      </p:sp>
      <p:sp>
        <p:nvSpPr>
          <p:cNvPr id="17" name="Oval 16"/>
          <p:cNvSpPr/>
          <p:nvPr/>
        </p:nvSpPr>
        <p:spPr bwMode="auto">
          <a:xfrm>
            <a:off x="685800" y="3777614"/>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8" name="TextBox 17"/>
          <p:cNvSpPr txBox="1"/>
          <p:nvPr/>
        </p:nvSpPr>
        <p:spPr>
          <a:xfrm>
            <a:off x="701040" y="3955166"/>
            <a:ext cx="746760" cy="261610"/>
          </a:xfrm>
          <a:prstGeom prst="rect">
            <a:avLst/>
          </a:prstGeom>
          <a:noFill/>
        </p:spPr>
        <p:txBody>
          <a:bodyPr wrap="square" rtlCol="0">
            <a:spAutoFit/>
          </a:bodyPr>
          <a:lstStyle/>
          <a:p>
            <a:pPr algn="ctr"/>
            <a:r>
              <a:rPr lang="en-US" sz="1100" b="1" dirty="0">
                <a:latin typeface="+mn-lt"/>
              </a:rPr>
              <a:t>C</a:t>
            </a:r>
          </a:p>
        </p:txBody>
      </p:sp>
      <p:sp>
        <p:nvSpPr>
          <p:cNvPr id="19" name="Oval 18"/>
          <p:cNvSpPr/>
          <p:nvPr/>
        </p:nvSpPr>
        <p:spPr bwMode="auto">
          <a:xfrm>
            <a:off x="685800" y="4844414"/>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20" name="TextBox 19"/>
          <p:cNvSpPr txBox="1"/>
          <p:nvPr/>
        </p:nvSpPr>
        <p:spPr>
          <a:xfrm>
            <a:off x="701040" y="5021966"/>
            <a:ext cx="746760" cy="261610"/>
          </a:xfrm>
          <a:prstGeom prst="rect">
            <a:avLst/>
          </a:prstGeom>
          <a:noFill/>
        </p:spPr>
        <p:txBody>
          <a:bodyPr wrap="square" rtlCol="0">
            <a:spAutoFit/>
          </a:bodyPr>
          <a:lstStyle/>
          <a:p>
            <a:pPr algn="ctr"/>
            <a:r>
              <a:rPr lang="en-US" sz="1100" b="1" dirty="0">
                <a:latin typeface="+mn-lt"/>
              </a:rPr>
              <a:t>D</a:t>
            </a:r>
          </a:p>
        </p:txBody>
      </p:sp>
      <p:sp>
        <p:nvSpPr>
          <p:cNvPr id="21" name="Oval 20"/>
          <p:cNvSpPr/>
          <p:nvPr/>
        </p:nvSpPr>
        <p:spPr bwMode="auto">
          <a:xfrm>
            <a:off x="685800" y="60198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22" name="TextBox 21"/>
          <p:cNvSpPr txBox="1"/>
          <p:nvPr/>
        </p:nvSpPr>
        <p:spPr>
          <a:xfrm>
            <a:off x="701040" y="6197352"/>
            <a:ext cx="746760" cy="261610"/>
          </a:xfrm>
          <a:prstGeom prst="rect">
            <a:avLst/>
          </a:prstGeom>
          <a:noFill/>
        </p:spPr>
        <p:txBody>
          <a:bodyPr wrap="square" rtlCol="0">
            <a:spAutoFit/>
          </a:bodyPr>
          <a:lstStyle/>
          <a:p>
            <a:pPr algn="ctr"/>
            <a:r>
              <a:rPr lang="en-US" sz="1100" b="1" dirty="0">
                <a:latin typeface="+mn-lt"/>
              </a:rPr>
              <a:t>E</a:t>
            </a:r>
          </a:p>
        </p:txBody>
      </p:sp>
      <p:sp>
        <p:nvSpPr>
          <p:cNvPr id="33" name="Right Arrow 32"/>
          <p:cNvSpPr/>
          <p:nvPr/>
        </p:nvSpPr>
        <p:spPr bwMode="auto">
          <a:xfrm>
            <a:off x="5029200" y="1676400"/>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4" name="Right Arrow 33"/>
          <p:cNvSpPr/>
          <p:nvPr/>
        </p:nvSpPr>
        <p:spPr bwMode="auto">
          <a:xfrm>
            <a:off x="5029200" y="2770445"/>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5" name="Right Arrow 34"/>
          <p:cNvSpPr/>
          <p:nvPr/>
        </p:nvSpPr>
        <p:spPr bwMode="auto">
          <a:xfrm>
            <a:off x="5029200" y="3989645"/>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cxnSp>
        <p:nvCxnSpPr>
          <p:cNvPr id="38" name="Straight Connector 37"/>
          <p:cNvCxnSpPr/>
          <p:nvPr/>
        </p:nvCxnSpPr>
        <p:spPr bwMode="auto">
          <a:xfrm>
            <a:off x="1752600" y="1033655"/>
            <a:ext cx="0" cy="5900545"/>
          </a:xfrm>
          <a:prstGeom prst="line">
            <a:avLst/>
          </a:prstGeom>
          <a:noFill/>
          <a:ln w="25400" cap="flat" cmpd="sng" algn="ctr">
            <a:solidFill>
              <a:srgbClr val="FFC000"/>
            </a:solidFill>
            <a:prstDash val="solid"/>
            <a:round/>
            <a:headEnd type="none" w="med" len="med"/>
            <a:tailEnd type="none" w="med" len="med"/>
          </a:ln>
          <a:effectLst/>
        </p:spPr>
      </p:cxnSp>
      <p:sp>
        <p:nvSpPr>
          <p:cNvPr id="36" name="Right Arrow 35"/>
          <p:cNvSpPr/>
          <p:nvPr/>
        </p:nvSpPr>
        <p:spPr bwMode="auto">
          <a:xfrm>
            <a:off x="5029200" y="5056445"/>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7" name="Right Arrow 36"/>
          <p:cNvSpPr/>
          <p:nvPr/>
        </p:nvSpPr>
        <p:spPr bwMode="auto">
          <a:xfrm>
            <a:off x="5029200" y="6199445"/>
            <a:ext cx="914400" cy="201355"/>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6" name="Right Arrow 5"/>
          <p:cNvSpPr/>
          <p:nvPr/>
        </p:nvSpPr>
        <p:spPr bwMode="auto">
          <a:xfrm>
            <a:off x="457200" y="912494"/>
            <a:ext cx="9144000" cy="50292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5" name="Right Arrow 24"/>
          <p:cNvSpPr/>
          <p:nvPr/>
        </p:nvSpPr>
        <p:spPr bwMode="auto">
          <a:xfrm>
            <a:off x="2590800" y="966787"/>
            <a:ext cx="2362201" cy="394334"/>
          </a:xfrm>
          <a:prstGeom prst="rightArrow">
            <a:avLst/>
          </a:prstGeom>
          <a:solidFill>
            <a:srgbClr val="FF0000"/>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4" name="TextBox 23"/>
          <p:cNvSpPr txBox="1"/>
          <p:nvPr/>
        </p:nvSpPr>
        <p:spPr>
          <a:xfrm>
            <a:off x="2590800" y="1042988"/>
            <a:ext cx="2209800" cy="238527"/>
          </a:xfrm>
          <a:prstGeom prst="rect">
            <a:avLst/>
          </a:prstGeom>
          <a:noFill/>
        </p:spPr>
        <p:txBody>
          <a:bodyPr wrap="square" rtlCol="0">
            <a:spAutoFit/>
          </a:bodyPr>
          <a:lstStyle/>
          <a:p>
            <a:pPr algn="ctr"/>
            <a:r>
              <a:rPr lang="en-US" sz="950" b="1" dirty="0">
                <a:solidFill>
                  <a:schemeClr val="bg1"/>
                </a:solidFill>
                <a:latin typeface="+mn-lt"/>
              </a:rPr>
              <a:t>No time limit for 1115 waiver approvals</a:t>
            </a:r>
          </a:p>
        </p:txBody>
      </p:sp>
      <p:sp>
        <p:nvSpPr>
          <p:cNvPr id="2" name="Footer Placeholder 1"/>
          <p:cNvSpPr>
            <a:spLocks noGrp="1"/>
          </p:cNvSpPr>
          <p:nvPr>
            <p:ph type="ftr" sz="quarter" idx="10"/>
          </p:nvPr>
        </p:nvSpPr>
        <p:spPr/>
        <p:txBody>
          <a:bodyPr/>
          <a:lstStyle/>
          <a:p>
            <a:r>
              <a:rPr lang="en-US" altLang="en-US" dirty="0"/>
              <a:t>Medicaid Expansion Council Meeting | Kansas Expansion</a:t>
            </a:r>
          </a:p>
        </p:txBody>
      </p:sp>
      <p:sp>
        <p:nvSpPr>
          <p:cNvPr id="31" name="TextBox 30"/>
          <p:cNvSpPr txBox="1"/>
          <p:nvPr/>
        </p:nvSpPr>
        <p:spPr>
          <a:xfrm>
            <a:off x="457199" y="1019905"/>
            <a:ext cx="1676401" cy="261610"/>
          </a:xfrm>
          <a:prstGeom prst="rect">
            <a:avLst/>
          </a:prstGeom>
          <a:noFill/>
        </p:spPr>
        <p:txBody>
          <a:bodyPr wrap="square" rtlCol="0">
            <a:spAutoFit/>
          </a:bodyPr>
          <a:lstStyle/>
          <a:p>
            <a:r>
              <a:rPr lang="en-US" sz="1100" b="1" dirty="0">
                <a:solidFill>
                  <a:schemeClr val="bg1"/>
                </a:solidFill>
                <a:latin typeface="+mn-lt"/>
              </a:rPr>
              <a:t>Potential Outcomes</a:t>
            </a:r>
          </a:p>
        </p:txBody>
      </p:sp>
      <p:sp>
        <p:nvSpPr>
          <p:cNvPr id="30" name="TextBox 29"/>
          <p:cNvSpPr txBox="1"/>
          <p:nvPr/>
        </p:nvSpPr>
        <p:spPr>
          <a:xfrm>
            <a:off x="8153400" y="2459504"/>
            <a:ext cx="1143000" cy="969496"/>
          </a:xfrm>
          <a:prstGeom prst="rect">
            <a:avLst/>
          </a:prstGeom>
          <a:noFill/>
        </p:spPr>
        <p:txBody>
          <a:bodyPr wrap="square" rtlCol="0">
            <a:spAutoFit/>
          </a:bodyPr>
          <a:lstStyle/>
          <a:p>
            <a:pPr algn="ctr"/>
            <a:r>
              <a:rPr lang="en-US" sz="950" i="1" dirty="0">
                <a:latin typeface="+mj-lt"/>
              </a:rPr>
              <a:t>If approval is on or after 1/1/21, state may begin implementation; unlikely</a:t>
            </a:r>
            <a:r>
              <a:rPr lang="en-US" sz="950" b="1" i="1" dirty="0">
                <a:latin typeface="+mj-lt"/>
              </a:rPr>
              <a:t> </a:t>
            </a:r>
            <a:r>
              <a:rPr lang="en-US" sz="950" i="1" dirty="0">
                <a:latin typeface="+mj-lt"/>
              </a:rPr>
              <a:t>given 180-day time limit. </a:t>
            </a:r>
            <a:r>
              <a:rPr lang="en-US" sz="950" i="1" baseline="30000" dirty="0">
                <a:latin typeface="+mj-lt"/>
              </a:rPr>
              <a:t>3</a:t>
            </a:r>
          </a:p>
        </p:txBody>
      </p:sp>
    </p:spTree>
    <p:extLst>
      <p:ext uri="{BB962C8B-B14F-4D97-AF65-F5344CB8AC3E}">
        <p14:creationId xmlns:p14="http://schemas.microsoft.com/office/powerpoint/2010/main" val="874062414"/>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57198" y="5123814"/>
            <a:ext cx="9142039" cy="18103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5" name="Rectangle 4"/>
          <p:cNvSpPr/>
          <p:nvPr/>
        </p:nvSpPr>
        <p:spPr bwMode="auto">
          <a:xfrm>
            <a:off x="457199" y="1161414"/>
            <a:ext cx="9142039" cy="18103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cxnSp>
        <p:nvCxnSpPr>
          <p:cNvPr id="38" name="Straight Connector 37"/>
          <p:cNvCxnSpPr/>
          <p:nvPr/>
        </p:nvCxnSpPr>
        <p:spPr bwMode="auto">
          <a:xfrm>
            <a:off x="1752600" y="1033655"/>
            <a:ext cx="0" cy="5900545"/>
          </a:xfrm>
          <a:prstGeom prst="line">
            <a:avLst/>
          </a:prstGeom>
          <a:noFill/>
          <a:ln w="25400" cap="flat" cmpd="sng" algn="ctr">
            <a:solidFill>
              <a:srgbClr val="FFC000"/>
            </a:solidFill>
            <a:prstDash val="solid"/>
            <a:round/>
            <a:headEnd type="none" w="med" len="med"/>
            <a:tailEnd type="none" w="med" len="med"/>
          </a:ln>
          <a:effectLst/>
        </p:spPr>
      </p:cxnSp>
      <p:sp>
        <p:nvSpPr>
          <p:cNvPr id="7" name="Title 6"/>
          <p:cNvSpPr>
            <a:spLocks noGrp="1"/>
          </p:cNvSpPr>
          <p:nvPr>
            <p:ph type="title"/>
          </p:nvPr>
        </p:nvSpPr>
        <p:spPr/>
        <p:txBody>
          <a:bodyPr/>
          <a:lstStyle/>
          <a:p>
            <a:r>
              <a:rPr lang="en-US" dirty="0"/>
              <a:t>Mapping Out Step 3</a:t>
            </a:r>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1659029088"/>
              </p:ext>
            </p:extLst>
          </p:nvPr>
        </p:nvGraphicFramePr>
        <p:xfrm>
          <a:off x="1600200" y="1524000"/>
          <a:ext cx="67818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Oval 10"/>
          <p:cNvSpPr/>
          <p:nvPr/>
        </p:nvSpPr>
        <p:spPr bwMode="auto">
          <a:xfrm>
            <a:off x="685800" y="1720214"/>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2" name="TextBox 11"/>
          <p:cNvSpPr txBox="1"/>
          <p:nvPr/>
        </p:nvSpPr>
        <p:spPr>
          <a:xfrm>
            <a:off x="701040" y="1948190"/>
            <a:ext cx="746760" cy="261610"/>
          </a:xfrm>
          <a:prstGeom prst="rect">
            <a:avLst/>
          </a:prstGeom>
          <a:noFill/>
        </p:spPr>
        <p:txBody>
          <a:bodyPr wrap="square" rtlCol="0">
            <a:spAutoFit/>
          </a:bodyPr>
          <a:lstStyle/>
          <a:p>
            <a:pPr algn="ctr"/>
            <a:r>
              <a:rPr lang="en-US" sz="1100" b="1" dirty="0">
                <a:latin typeface="+mn-lt"/>
              </a:rPr>
              <a:t>A</a:t>
            </a:r>
          </a:p>
        </p:txBody>
      </p:sp>
      <p:sp>
        <p:nvSpPr>
          <p:cNvPr id="17" name="Oval 16"/>
          <p:cNvSpPr/>
          <p:nvPr/>
        </p:nvSpPr>
        <p:spPr bwMode="auto">
          <a:xfrm>
            <a:off x="685800" y="36576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8" name="TextBox 17"/>
          <p:cNvSpPr txBox="1"/>
          <p:nvPr/>
        </p:nvSpPr>
        <p:spPr>
          <a:xfrm>
            <a:off x="701040" y="3929390"/>
            <a:ext cx="746760" cy="261610"/>
          </a:xfrm>
          <a:prstGeom prst="rect">
            <a:avLst/>
          </a:prstGeom>
          <a:noFill/>
        </p:spPr>
        <p:txBody>
          <a:bodyPr wrap="square" rtlCol="0">
            <a:spAutoFit/>
          </a:bodyPr>
          <a:lstStyle/>
          <a:p>
            <a:pPr algn="ctr"/>
            <a:r>
              <a:rPr lang="en-US" sz="1100" b="1" dirty="0">
                <a:latin typeface="+mn-lt"/>
              </a:rPr>
              <a:t>B</a:t>
            </a:r>
          </a:p>
        </p:txBody>
      </p:sp>
      <p:sp>
        <p:nvSpPr>
          <p:cNvPr id="19" name="Oval 18"/>
          <p:cNvSpPr/>
          <p:nvPr/>
        </p:nvSpPr>
        <p:spPr bwMode="auto">
          <a:xfrm>
            <a:off x="685800" y="5758814"/>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6" name="Right Arrow 5"/>
          <p:cNvSpPr/>
          <p:nvPr/>
        </p:nvSpPr>
        <p:spPr bwMode="auto">
          <a:xfrm>
            <a:off x="457200" y="912494"/>
            <a:ext cx="9142038" cy="50292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9" name="TextBox 28"/>
          <p:cNvSpPr txBox="1"/>
          <p:nvPr/>
        </p:nvSpPr>
        <p:spPr>
          <a:xfrm>
            <a:off x="701040" y="5910590"/>
            <a:ext cx="746760" cy="261610"/>
          </a:xfrm>
          <a:prstGeom prst="rect">
            <a:avLst/>
          </a:prstGeom>
          <a:noFill/>
        </p:spPr>
        <p:txBody>
          <a:bodyPr wrap="square" rtlCol="0">
            <a:spAutoFit/>
          </a:bodyPr>
          <a:lstStyle/>
          <a:p>
            <a:pPr algn="ctr"/>
            <a:r>
              <a:rPr lang="en-US" sz="1100" b="1" dirty="0">
                <a:latin typeface="+mn-lt"/>
              </a:rPr>
              <a:t>C</a:t>
            </a:r>
          </a:p>
        </p:txBody>
      </p:sp>
      <p:sp>
        <p:nvSpPr>
          <p:cNvPr id="30" name="Right Arrow 29"/>
          <p:cNvSpPr/>
          <p:nvPr/>
        </p:nvSpPr>
        <p:spPr bwMode="auto">
          <a:xfrm>
            <a:off x="5181600" y="3962400"/>
            <a:ext cx="914400" cy="18288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cxnSp>
        <p:nvCxnSpPr>
          <p:cNvPr id="3" name="Straight Arrow Connector 2"/>
          <p:cNvCxnSpPr/>
          <p:nvPr/>
        </p:nvCxnSpPr>
        <p:spPr bwMode="auto">
          <a:xfrm>
            <a:off x="3368040" y="2118360"/>
            <a:ext cx="914400" cy="0"/>
          </a:xfrm>
          <a:prstGeom prst="straightConnector1">
            <a:avLst/>
          </a:prstGeom>
          <a:noFill/>
          <a:ln w="28575" cap="flat" cmpd="sng" algn="ctr">
            <a:solidFill>
              <a:srgbClr val="FF0000"/>
            </a:solidFill>
            <a:prstDash val="lgDash"/>
            <a:miter lim="800000"/>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Arrow Connector 33"/>
          <p:cNvCxnSpPr/>
          <p:nvPr/>
        </p:nvCxnSpPr>
        <p:spPr bwMode="auto">
          <a:xfrm>
            <a:off x="3352800" y="4038600"/>
            <a:ext cx="914400" cy="0"/>
          </a:xfrm>
          <a:prstGeom prst="straightConnector1">
            <a:avLst/>
          </a:prstGeom>
          <a:noFill/>
          <a:ln w="28575" cap="flat" cmpd="sng" algn="ctr">
            <a:solidFill>
              <a:srgbClr val="FF0000"/>
            </a:solidFill>
            <a:prstDash val="lgDash"/>
            <a:miter lim="800000"/>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Straight Arrow Connector 34"/>
          <p:cNvCxnSpPr/>
          <p:nvPr/>
        </p:nvCxnSpPr>
        <p:spPr bwMode="auto">
          <a:xfrm>
            <a:off x="3352800" y="6065520"/>
            <a:ext cx="914400" cy="0"/>
          </a:xfrm>
          <a:prstGeom prst="straightConnector1">
            <a:avLst/>
          </a:prstGeom>
          <a:noFill/>
          <a:ln w="28575" cap="flat" cmpd="sng" algn="ctr">
            <a:solidFill>
              <a:srgbClr val="FF0000"/>
            </a:solidFill>
            <a:prstDash val="lgDash"/>
            <a:miter lim="800000"/>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Right Arrow 30"/>
          <p:cNvSpPr/>
          <p:nvPr/>
        </p:nvSpPr>
        <p:spPr bwMode="auto">
          <a:xfrm>
            <a:off x="5181600" y="2026920"/>
            <a:ext cx="914400" cy="18288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2" name="Right Arrow 31"/>
          <p:cNvSpPr/>
          <p:nvPr/>
        </p:nvSpPr>
        <p:spPr bwMode="auto">
          <a:xfrm>
            <a:off x="5181600" y="5989320"/>
            <a:ext cx="914400" cy="18288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2" name="Right Arrow 21"/>
          <p:cNvSpPr/>
          <p:nvPr/>
        </p:nvSpPr>
        <p:spPr bwMode="auto">
          <a:xfrm>
            <a:off x="2743199" y="966787"/>
            <a:ext cx="2362201" cy="394334"/>
          </a:xfrm>
          <a:prstGeom prst="rightArrow">
            <a:avLst/>
          </a:prstGeom>
          <a:solidFill>
            <a:srgbClr val="FF0000"/>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3" name="TextBox 22"/>
          <p:cNvSpPr txBox="1"/>
          <p:nvPr/>
        </p:nvSpPr>
        <p:spPr>
          <a:xfrm>
            <a:off x="2748280" y="1042988"/>
            <a:ext cx="2209800" cy="238527"/>
          </a:xfrm>
          <a:prstGeom prst="rect">
            <a:avLst/>
          </a:prstGeom>
          <a:noFill/>
        </p:spPr>
        <p:txBody>
          <a:bodyPr wrap="square" rtlCol="0">
            <a:spAutoFit/>
          </a:bodyPr>
          <a:lstStyle/>
          <a:p>
            <a:pPr algn="ctr"/>
            <a:r>
              <a:rPr lang="en-US" sz="950" b="1" dirty="0">
                <a:solidFill>
                  <a:schemeClr val="bg1"/>
                </a:solidFill>
                <a:latin typeface="+mn-lt"/>
              </a:rPr>
              <a:t>No time limit for 1115 waiver approvals</a:t>
            </a:r>
          </a:p>
        </p:txBody>
      </p:sp>
      <p:sp>
        <p:nvSpPr>
          <p:cNvPr id="2" name="Footer Placeholder 1"/>
          <p:cNvSpPr>
            <a:spLocks noGrp="1"/>
          </p:cNvSpPr>
          <p:nvPr>
            <p:ph type="ftr" sz="quarter" idx="10"/>
          </p:nvPr>
        </p:nvSpPr>
        <p:spPr/>
        <p:txBody>
          <a:bodyPr/>
          <a:lstStyle/>
          <a:p>
            <a:r>
              <a:rPr lang="en-US" altLang="en-US" dirty="0"/>
              <a:t>Medicaid Expansion Council Meeting | Kansas Expansion</a:t>
            </a:r>
          </a:p>
        </p:txBody>
      </p:sp>
      <p:sp>
        <p:nvSpPr>
          <p:cNvPr id="26" name="TextBox 25"/>
          <p:cNvSpPr txBox="1"/>
          <p:nvPr/>
        </p:nvSpPr>
        <p:spPr>
          <a:xfrm>
            <a:off x="457199" y="1019905"/>
            <a:ext cx="1676401" cy="261610"/>
          </a:xfrm>
          <a:prstGeom prst="rect">
            <a:avLst/>
          </a:prstGeom>
          <a:noFill/>
        </p:spPr>
        <p:txBody>
          <a:bodyPr wrap="square" rtlCol="0">
            <a:spAutoFit/>
          </a:bodyPr>
          <a:lstStyle/>
          <a:p>
            <a:r>
              <a:rPr lang="en-US" sz="1100" b="1" dirty="0">
                <a:solidFill>
                  <a:schemeClr val="bg1"/>
                </a:solidFill>
                <a:latin typeface="+mn-lt"/>
              </a:rPr>
              <a:t>Potential Outcomes</a:t>
            </a:r>
          </a:p>
        </p:txBody>
      </p:sp>
    </p:spTree>
    <p:extLst>
      <p:ext uri="{BB962C8B-B14F-4D97-AF65-F5344CB8AC3E}">
        <p14:creationId xmlns:p14="http://schemas.microsoft.com/office/powerpoint/2010/main" val="2842378286"/>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ltLang="en-US" dirty="0">
                <a:solidFill>
                  <a:srgbClr val="FFFFFF"/>
                </a:solidFill>
              </a:rPr>
              <a:t>Medicaid Expansion Council Meeting | Kansas Expansion</a:t>
            </a:r>
          </a:p>
        </p:txBody>
      </p:sp>
      <p:sp>
        <p:nvSpPr>
          <p:cNvPr id="5" name="Title 4"/>
          <p:cNvSpPr>
            <a:spLocks noGrp="1"/>
          </p:cNvSpPr>
          <p:nvPr>
            <p:ph type="title"/>
          </p:nvPr>
        </p:nvSpPr>
        <p:spPr/>
        <p:txBody>
          <a:bodyPr/>
          <a:lstStyle/>
          <a:p>
            <a:r>
              <a:rPr lang="en-US" dirty="0"/>
              <a:t>H.B. 2066</a:t>
            </a:r>
          </a:p>
        </p:txBody>
      </p:sp>
    </p:spTree>
    <p:extLst>
      <p:ext uri="{BB962C8B-B14F-4D97-AF65-F5344CB8AC3E}">
        <p14:creationId xmlns:p14="http://schemas.microsoft.com/office/powerpoint/2010/main" val="2394777134"/>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539186" y="1371600"/>
            <a:ext cx="8909613" cy="609600"/>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7" name="Title 6"/>
          <p:cNvSpPr>
            <a:spLocks noGrp="1"/>
          </p:cNvSpPr>
          <p:nvPr>
            <p:ph type="title"/>
          </p:nvPr>
        </p:nvSpPr>
        <p:spPr/>
        <p:txBody>
          <a:bodyPr/>
          <a:lstStyle/>
          <a:p>
            <a:r>
              <a:rPr lang="en-US" dirty="0"/>
              <a:t>Approach to Coverage</a:t>
            </a:r>
          </a:p>
        </p:txBody>
      </p:sp>
      <p:sp>
        <p:nvSpPr>
          <p:cNvPr id="8" name="Right Arrow 7"/>
          <p:cNvSpPr/>
          <p:nvPr/>
        </p:nvSpPr>
        <p:spPr bwMode="auto">
          <a:xfrm>
            <a:off x="539187" y="1097280"/>
            <a:ext cx="8909613" cy="50292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0" name="Rectangle 19"/>
          <p:cNvSpPr/>
          <p:nvPr/>
        </p:nvSpPr>
        <p:spPr bwMode="auto">
          <a:xfrm>
            <a:off x="620073" y="1219200"/>
            <a:ext cx="104503" cy="401149"/>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12548" tIns="56268" rIns="112548" bIns="56268" numCol="1" rtlCol="0" anchor="ctr" anchorCtr="0" compatLnSpc="1">
            <a:prstTxWarp prst="textNoShape">
              <a:avLst/>
            </a:prstTxWarp>
          </a:bodyPr>
          <a:lstStyle/>
          <a:p>
            <a:pPr algn="ctr" defTabSz="1126047"/>
            <a:endParaRPr lang="en-US" sz="1200" b="1" dirty="0">
              <a:solidFill>
                <a:srgbClr val="000000"/>
              </a:solidFill>
              <a:latin typeface="Calibri" charset="0"/>
            </a:endParaRPr>
          </a:p>
        </p:txBody>
      </p:sp>
      <p:cxnSp>
        <p:nvCxnSpPr>
          <p:cNvPr id="21" name="Straight Connector 20"/>
          <p:cNvCxnSpPr/>
          <p:nvPr/>
        </p:nvCxnSpPr>
        <p:spPr bwMode="auto">
          <a:xfrm>
            <a:off x="672325" y="1225343"/>
            <a:ext cx="0" cy="5708857"/>
          </a:xfrm>
          <a:prstGeom prst="line">
            <a:avLst/>
          </a:prstGeom>
          <a:noFill/>
          <a:ln w="25400" cap="flat" cmpd="sng" algn="ctr">
            <a:solidFill>
              <a:srgbClr val="FFC000"/>
            </a:solidFill>
            <a:prstDash val="solid"/>
            <a:round/>
            <a:headEnd type="none" w="med" len="med"/>
            <a:tailEnd type="none" w="med" len="med"/>
          </a:ln>
          <a:effectLst/>
        </p:spPr>
      </p:cxnSp>
      <p:sp>
        <p:nvSpPr>
          <p:cNvPr id="22" name="TextBox 21"/>
          <p:cNvSpPr txBox="1"/>
          <p:nvPr/>
        </p:nvSpPr>
        <p:spPr>
          <a:xfrm>
            <a:off x="724576" y="1490732"/>
            <a:ext cx="8419424" cy="302081"/>
          </a:xfrm>
          <a:prstGeom prst="rect">
            <a:avLst/>
          </a:prstGeom>
          <a:solidFill>
            <a:schemeClr val="bg1">
              <a:lumMod val="95000"/>
            </a:schemeClr>
          </a:solidFill>
        </p:spPr>
        <p:txBody>
          <a:bodyPr wrap="square" lIns="101028" tIns="50520" rIns="101028" bIns="50520" rtlCol="0">
            <a:spAutoFit/>
          </a:bodyPr>
          <a:lstStyle/>
          <a:p>
            <a:pPr algn="ctr" defTabSz="1010286"/>
            <a:r>
              <a:rPr lang="en-US" sz="1300" b="1" dirty="0">
                <a:solidFill>
                  <a:srgbClr val="000000"/>
                </a:solidFill>
                <a:latin typeface="Calibri"/>
              </a:rPr>
              <a:t>Full Expansion</a:t>
            </a:r>
            <a:r>
              <a:rPr lang="en-US" sz="1300" dirty="0">
                <a:solidFill>
                  <a:srgbClr val="000000"/>
                </a:solidFill>
                <a:latin typeface="Calibri"/>
              </a:rPr>
              <a:t>: Coverage up to 138% FPL </a:t>
            </a:r>
            <a:r>
              <a:rPr lang="en-US" sz="1300" baseline="30000" dirty="0">
                <a:solidFill>
                  <a:srgbClr val="000000"/>
                </a:solidFill>
                <a:latin typeface="Calibri"/>
              </a:rPr>
              <a:t>5</a:t>
            </a:r>
          </a:p>
        </p:txBody>
      </p:sp>
      <p:sp>
        <p:nvSpPr>
          <p:cNvPr id="29" name="TextBox 28"/>
          <p:cNvSpPr txBox="1"/>
          <p:nvPr/>
        </p:nvSpPr>
        <p:spPr>
          <a:xfrm>
            <a:off x="457200" y="5874603"/>
            <a:ext cx="1600200" cy="919401"/>
          </a:xfrm>
          <a:prstGeom prst="roundRect">
            <a:avLst/>
          </a:prstGeom>
          <a:solidFill>
            <a:schemeClr val="bg1">
              <a:lumMod val="85000"/>
            </a:schemeClr>
          </a:solidFill>
          <a:ln>
            <a:noFill/>
          </a:ln>
        </p:spPr>
        <p:txBody>
          <a:bodyPr wrap="square" rtlCol="0">
            <a:spAutoFit/>
          </a:bodyPr>
          <a:lstStyle/>
          <a:p>
            <a:pPr defTabSz="1010286"/>
            <a:r>
              <a:rPr lang="en-US" sz="1200" b="1" dirty="0">
                <a:solidFill>
                  <a:srgbClr val="000000"/>
                </a:solidFill>
                <a:latin typeface="Calibri"/>
              </a:rPr>
              <a:t>Submission Process: </a:t>
            </a:r>
          </a:p>
          <a:p>
            <a:pPr marL="115888" indent="-115888" defTabSz="1010286">
              <a:buFont typeface="Arial" panose="020B0604020202020204" pitchFamily="34" charset="0"/>
              <a:buChar char="•"/>
            </a:pPr>
            <a:r>
              <a:rPr lang="en-US" sz="1200" dirty="0">
                <a:solidFill>
                  <a:srgbClr val="000000"/>
                </a:solidFill>
                <a:latin typeface="Calibri"/>
              </a:rPr>
              <a:t>Prepare application</a:t>
            </a:r>
          </a:p>
          <a:p>
            <a:pPr marL="115888" indent="-115888" defTabSz="1010286">
              <a:buFont typeface="Arial" panose="020B0604020202020204" pitchFamily="34" charset="0"/>
              <a:buChar char="•"/>
            </a:pPr>
            <a:r>
              <a:rPr lang="en-US" sz="1200" dirty="0">
                <a:solidFill>
                  <a:srgbClr val="000000"/>
                </a:solidFill>
                <a:latin typeface="Calibri"/>
              </a:rPr>
              <a:t>Tribal consultation</a:t>
            </a:r>
          </a:p>
          <a:p>
            <a:pPr marL="115888" indent="-115888" defTabSz="1010286">
              <a:buFont typeface="Arial" panose="020B0604020202020204" pitchFamily="34" charset="0"/>
              <a:buChar char="•"/>
            </a:pPr>
            <a:r>
              <a:rPr lang="en-US" sz="1200" dirty="0">
                <a:solidFill>
                  <a:srgbClr val="000000"/>
                </a:solidFill>
                <a:latin typeface="Calibri"/>
              </a:rPr>
              <a:t>Public notice</a:t>
            </a:r>
          </a:p>
        </p:txBody>
      </p:sp>
      <p:cxnSp>
        <p:nvCxnSpPr>
          <p:cNvPr id="27" name="Straight Connector 26"/>
          <p:cNvCxnSpPr/>
          <p:nvPr/>
        </p:nvCxnSpPr>
        <p:spPr bwMode="auto">
          <a:xfrm>
            <a:off x="672324" y="5728900"/>
            <a:ext cx="7785876" cy="0"/>
          </a:xfrm>
          <a:prstGeom prst="line">
            <a:avLst/>
          </a:prstGeom>
          <a:noFill/>
          <a:ln w="19050" cap="flat" cmpd="sng" algn="ctr">
            <a:solidFill>
              <a:srgbClr val="FF0000"/>
            </a:solidFill>
            <a:prstDash val="lgDash"/>
            <a:miter lim="800000"/>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1" name="Oval 30"/>
          <p:cNvSpPr/>
          <p:nvPr/>
        </p:nvSpPr>
        <p:spPr bwMode="auto">
          <a:xfrm>
            <a:off x="8458200" y="5334000"/>
            <a:ext cx="990600" cy="872698"/>
          </a:xfrm>
          <a:prstGeom prst="ellipse">
            <a:avLst/>
          </a:prstGeom>
          <a:solidFill>
            <a:srgbClr val="FF0000"/>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8" name="TextBox 37"/>
          <p:cNvSpPr txBox="1"/>
          <p:nvPr/>
        </p:nvSpPr>
        <p:spPr>
          <a:xfrm>
            <a:off x="8458200" y="5523383"/>
            <a:ext cx="990600" cy="530915"/>
          </a:xfrm>
          <a:prstGeom prst="rect">
            <a:avLst/>
          </a:prstGeom>
          <a:noFill/>
        </p:spPr>
        <p:txBody>
          <a:bodyPr wrap="square" rtlCol="0">
            <a:spAutoFit/>
          </a:bodyPr>
          <a:lstStyle/>
          <a:p>
            <a:pPr algn="ctr"/>
            <a:r>
              <a:rPr lang="en-US" sz="950" b="1" dirty="0">
                <a:solidFill>
                  <a:schemeClr val="bg1"/>
                </a:solidFill>
                <a:latin typeface="+mn-lt"/>
              </a:rPr>
              <a:t>*No time limit for 1115 waiver decisions</a:t>
            </a:r>
          </a:p>
        </p:txBody>
      </p:sp>
      <p:graphicFrame>
        <p:nvGraphicFramePr>
          <p:cNvPr id="40" name="Content Placeholder 8"/>
          <p:cNvGraphicFramePr>
            <a:graphicFrameLocks/>
          </p:cNvGraphicFramePr>
          <p:nvPr>
            <p:extLst>
              <p:ext uri="{D42A27DB-BD31-4B8C-83A1-F6EECF244321}">
                <p14:modId xmlns:p14="http://schemas.microsoft.com/office/powerpoint/2010/main" val="4287706488"/>
              </p:ext>
            </p:extLst>
          </p:nvPr>
        </p:nvGraphicFramePr>
        <p:xfrm>
          <a:off x="3048000" y="2209800"/>
          <a:ext cx="3657600" cy="23643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TextBox 14"/>
          <p:cNvSpPr txBox="1"/>
          <p:nvPr/>
        </p:nvSpPr>
        <p:spPr>
          <a:xfrm>
            <a:off x="2895601" y="4700081"/>
            <a:ext cx="4419599" cy="938719"/>
          </a:xfrm>
          <a:prstGeom prst="rect">
            <a:avLst/>
          </a:prstGeom>
          <a:solidFill>
            <a:schemeClr val="bg1"/>
          </a:solidFill>
        </p:spPr>
        <p:txBody>
          <a:bodyPr wrap="square" rtlCol="0">
            <a:spAutoFit/>
          </a:bodyPr>
          <a:lstStyle/>
          <a:p>
            <a:pPr defTabSz="1010286"/>
            <a:r>
              <a:rPr lang="en-US" sz="1100" i="1" dirty="0">
                <a:latin typeface="Calibri"/>
              </a:rPr>
              <a:t>SPAs are submitted  to effectuate expansions, regardless of whether a state is pursuing an 1115 waiver when expanding coverage. SPAs must be acted on </a:t>
            </a:r>
            <a:r>
              <a:rPr lang="en-US" sz="1100" i="1" u="sng" dirty="0">
                <a:latin typeface="Calibri"/>
              </a:rPr>
              <a:t>&lt; </a:t>
            </a:r>
            <a:r>
              <a:rPr lang="en-US" sz="1100" i="1" dirty="0">
                <a:latin typeface="Calibri"/>
              </a:rPr>
              <a:t>90 days (or else become automatically effective). CMS is permitted to “stop the clock” once for questions. Because expansion is a state option, a properly completed SPA will be approved.</a:t>
            </a:r>
          </a:p>
        </p:txBody>
      </p:sp>
      <p:sp>
        <p:nvSpPr>
          <p:cNvPr id="2" name="Footer Placeholder 1"/>
          <p:cNvSpPr>
            <a:spLocks noGrp="1"/>
          </p:cNvSpPr>
          <p:nvPr>
            <p:ph type="ftr" sz="quarter" idx="10"/>
          </p:nvPr>
        </p:nvSpPr>
        <p:spPr/>
        <p:txBody>
          <a:bodyPr/>
          <a:lstStyle/>
          <a:p>
            <a:r>
              <a:rPr lang="en-US" altLang="en-US" dirty="0"/>
              <a:t>Medicaid Expansion Council Meeting | Kansas Expansion</a:t>
            </a:r>
          </a:p>
        </p:txBody>
      </p:sp>
    </p:spTree>
    <p:extLst>
      <p:ext uri="{BB962C8B-B14F-4D97-AF65-F5344CB8AC3E}">
        <p14:creationId xmlns:p14="http://schemas.microsoft.com/office/powerpoint/2010/main" val="2126528111"/>
      </p:ext>
    </p:ext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57198" y="5052694"/>
            <a:ext cx="9144001" cy="18865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5" name="Rectangle 4"/>
          <p:cNvSpPr/>
          <p:nvPr/>
        </p:nvSpPr>
        <p:spPr bwMode="auto">
          <a:xfrm>
            <a:off x="457198" y="1161414"/>
            <a:ext cx="9144001" cy="1886586"/>
          </a:xfrm>
          <a:prstGeom prst="rect">
            <a:avLst/>
          </a:prstGeom>
          <a:solidFill>
            <a:schemeClr val="bg1">
              <a:lumMod val="95000"/>
            </a:schemeClr>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7" name="Title 6"/>
          <p:cNvSpPr>
            <a:spLocks noGrp="1"/>
          </p:cNvSpPr>
          <p:nvPr>
            <p:ph type="title"/>
          </p:nvPr>
        </p:nvSpPr>
        <p:spPr/>
        <p:txBody>
          <a:bodyPr/>
          <a:lstStyle/>
          <a:p>
            <a:r>
              <a:rPr lang="en-US" dirty="0"/>
              <a:t>Mapping Out the Approach</a:t>
            </a:r>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1128395694"/>
              </p:ext>
            </p:extLst>
          </p:nvPr>
        </p:nvGraphicFramePr>
        <p:xfrm>
          <a:off x="1905000" y="1295400"/>
          <a:ext cx="6400800" cy="5486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Oval 10"/>
          <p:cNvSpPr/>
          <p:nvPr/>
        </p:nvSpPr>
        <p:spPr bwMode="auto">
          <a:xfrm>
            <a:off x="685800" y="15240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2" name="TextBox 11"/>
          <p:cNvSpPr txBox="1"/>
          <p:nvPr/>
        </p:nvSpPr>
        <p:spPr>
          <a:xfrm>
            <a:off x="701040" y="1948190"/>
            <a:ext cx="746760" cy="261610"/>
          </a:xfrm>
          <a:prstGeom prst="rect">
            <a:avLst/>
          </a:prstGeom>
          <a:noFill/>
        </p:spPr>
        <p:txBody>
          <a:bodyPr wrap="square" rtlCol="0">
            <a:spAutoFit/>
          </a:bodyPr>
          <a:lstStyle/>
          <a:p>
            <a:pPr algn="ctr"/>
            <a:r>
              <a:rPr lang="en-US" sz="1100" b="1" dirty="0">
                <a:latin typeface="+mn-lt"/>
              </a:rPr>
              <a:t>A</a:t>
            </a:r>
          </a:p>
        </p:txBody>
      </p:sp>
      <p:sp>
        <p:nvSpPr>
          <p:cNvPr id="13" name="Oval 12"/>
          <p:cNvSpPr/>
          <p:nvPr/>
        </p:nvSpPr>
        <p:spPr bwMode="auto">
          <a:xfrm>
            <a:off x="685800" y="25908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7" name="Oval 16"/>
          <p:cNvSpPr/>
          <p:nvPr/>
        </p:nvSpPr>
        <p:spPr bwMode="auto">
          <a:xfrm>
            <a:off x="685800" y="3777614"/>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18" name="TextBox 17"/>
          <p:cNvSpPr txBox="1"/>
          <p:nvPr/>
        </p:nvSpPr>
        <p:spPr>
          <a:xfrm>
            <a:off x="701040" y="3955166"/>
            <a:ext cx="746760" cy="261610"/>
          </a:xfrm>
          <a:prstGeom prst="rect">
            <a:avLst/>
          </a:prstGeom>
          <a:noFill/>
        </p:spPr>
        <p:txBody>
          <a:bodyPr wrap="square" rtlCol="0">
            <a:spAutoFit/>
          </a:bodyPr>
          <a:lstStyle/>
          <a:p>
            <a:pPr algn="ctr"/>
            <a:r>
              <a:rPr lang="en-US" sz="1100" b="1" dirty="0">
                <a:latin typeface="+mn-lt"/>
              </a:rPr>
              <a:t>B</a:t>
            </a:r>
          </a:p>
        </p:txBody>
      </p:sp>
      <p:sp>
        <p:nvSpPr>
          <p:cNvPr id="19" name="Oval 18"/>
          <p:cNvSpPr/>
          <p:nvPr/>
        </p:nvSpPr>
        <p:spPr bwMode="auto">
          <a:xfrm>
            <a:off x="685800" y="4844414"/>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21" name="Oval 20"/>
          <p:cNvSpPr/>
          <p:nvPr/>
        </p:nvSpPr>
        <p:spPr bwMode="auto">
          <a:xfrm>
            <a:off x="685800" y="6019800"/>
            <a:ext cx="746760" cy="641986"/>
          </a:xfrm>
          <a:prstGeom prst="ellipse">
            <a:avLst/>
          </a:prstGeom>
          <a:noFill/>
          <a:ln>
            <a:noFill/>
          </a:ln>
          <a:effectLst/>
        </p:spPr>
        <p:txBody>
          <a:bodyPr lIns="91440" tIns="91440" rIns="91440" bIns="91440" rtlCol="0" anchor="ctr" anchorCtr="0">
            <a:noAutofit/>
          </a:bodyPr>
          <a:lstStyle/>
          <a:p>
            <a:pPr algn="ctr" eaLnBrk="1" hangingPunct="1"/>
            <a:endParaRPr lang="en-US" sz="1600" b="1" dirty="0">
              <a:latin typeface="+mn-lt"/>
            </a:endParaRPr>
          </a:p>
        </p:txBody>
      </p:sp>
      <p:sp>
        <p:nvSpPr>
          <p:cNvPr id="22" name="TextBox 21"/>
          <p:cNvSpPr txBox="1"/>
          <p:nvPr/>
        </p:nvSpPr>
        <p:spPr>
          <a:xfrm>
            <a:off x="701040" y="5867400"/>
            <a:ext cx="746760" cy="261610"/>
          </a:xfrm>
          <a:prstGeom prst="rect">
            <a:avLst/>
          </a:prstGeom>
          <a:noFill/>
        </p:spPr>
        <p:txBody>
          <a:bodyPr wrap="square" rtlCol="0">
            <a:spAutoFit/>
          </a:bodyPr>
          <a:lstStyle/>
          <a:p>
            <a:pPr algn="ctr"/>
            <a:r>
              <a:rPr lang="en-US" sz="1100" b="1" dirty="0">
                <a:latin typeface="+mn-lt"/>
              </a:rPr>
              <a:t>C</a:t>
            </a:r>
          </a:p>
        </p:txBody>
      </p:sp>
      <p:cxnSp>
        <p:nvCxnSpPr>
          <p:cNvPr id="38" name="Straight Connector 37"/>
          <p:cNvCxnSpPr/>
          <p:nvPr/>
        </p:nvCxnSpPr>
        <p:spPr bwMode="auto">
          <a:xfrm>
            <a:off x="1752600" y="1033655"/>
            <a:ext cx="0" cy="5900545"/>
          </a:xfrm>
          <a:prstGeom prst="line">
            <a:avLst/>
          </a:prstGeom>
          <a:noFill/>
          <a:ln w="25400" cap="flat" cmpd="sng" algn="ctr">
            <a:solidFill>
              <a:srgbClr val="FFC000"/>
            </a:solidFill>
            <a:prstDash val="solid"/>
            <a:round/>
            <a:headEnd type="none" w="med" len="med"/>
            <a:tailEnd type="none" w="med" len="med"/>
          </a:ln>
          <a:effectLst/>
        </p:spPr>
      </p:cxnSp>
      <p:sp>
        <p:nvSpPr>
          <p:cNvPr id="6" name="Right Arrow 5"/>
          <p:cNvSpPr/>
          <p:nvPr/>
        </p:nvSpPr>
        <p:spPr bwMode="auto">
          <a:xfrm>
            <a:off x="457200" y="912494"/>
            <a:ext cx="9144000" cy="50292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9" name="Right Arrow 28"/>
          <p:cNvSpPr/>
          <p:nvPr/>
        </p:nvSpPr>
        <p:spPr bwMode="auto">
          <a:xfrm>
            <a:off x="5410200" y="3955166"/>
            <a:ext cx="640080" cy="18288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0" name="Right Arrow 29"/>
          <p:cNvSpPr/>
          <p:nvPr/>
        </p:nvSpPr>
        <p:spPr bwMode="auto">
          <a:xfrm>
            <a:off x="5410200" y="1981200"/>
            <a:ext cx="640080" cy="18288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31" name="Right Arrow 30"/>
          <p:cNvSpPr/>
          <p:nvPr/>
        </p:nvSpPr>
        <p:spPr bwMode="auto">
          <a:xfrm>
            <a:off x="5410200" y="5867400"/>
            <a:ext cx="640080" cy="182880"/>
          </a:xfrm>
          <a:prstGeom prst="rightArrow">
            <a:avLst/>
          </a:prstGeom>
          <a:solidFill>
            <a:schemeClr val="bg2"/>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3" name="Right Arrow 22"/>
          <p:cNvSpPr/>
          <p:nvPr/>
        </p:nvSpPr>
        <p:spPr bwMode="auto">
          <a:xfrm>
            <a:off x="2895600" y="966787"/>
            <a:ext cx="2362201" cy="394334"/>
          </a:xfrm>
          <a:prstGeom prst="rightArrow">
            <a:avLst/>
          </a:prstGeom>
          <a:solidFill>
            <a:srgbClr val="FF0000"/>
          </a:solidFill>
          <a:ln>
            <a:noFill/>
          </a:ln>
          <a:effectLst/>
        </p:spPr>
        <p:txBody>
          <a:bodyPr lIns="91440" tIns="91440" rIns="91440" bIns="91440" rtlCol="0" anchor="ctr" anchorCtr="0">
            <a:noAutofit/>
          </a:bodyPr>
          <a:lstStyle/>
          <a:p>
            <a:pPr algn="ctr" eaLnBrk="1" hangingPunct="1"/>
            <a:endParaRPr lang="en-US" sz="1600" b="1" dirty="0">
              <a:solidFill>
                <a:schemeClr val="bg1"/>
              </a:solidFill>
              <a:latin typeface="+mn-lt"/>
            </a:endParaRPr>
          </a:p>
        </p:txBody>
      </p:sp>
      <p:sp>
        <p:nvSpPr>
          <p:cNvPr id="26" name="TextBox 25"/>
          <p:cNvSpPr txBox="1"/>
          <p:nvPr/>
        </p:nvSpPr>
        <p:spPr>
          <a:xfrm>
            <a:off x="2900681" y="1042988"/>
            <a:ext cx="2209800" cy="238527"/>
          </a:xfrm>
          <a:prstGeom prst="rect">
            <a:avLst/>
          </a:prstGeom>
          <a:noFill/>
        </p:spPr>
        <p:txBody>
          <a:bodyPr wrap="square" rtlCol="0">
            <a:spAutoFit/>
          </a:bodyPr>
          <a:lstStyle/>
          <a:p>
            <a:pPr algn="ctr"/>
            <a:r>
              <a:rPr lang="en-US" sz="950" b="1" dirty="0">
                <a:solidFill>
                  <a:schemeClr val="bg1"/>
                </a:solidFill>
                <a:latin typeface="+mn-lt"/>
              </a:rPr>
              <a:t>No time limit for 1115 waiver approvals</a:t>
            </a:r>
          </a:p>
        </p:txBody>
      </p:sp>
      <p:sp>
        <p:nvSpPr>
          <p:cNvPr id="27" name="TextBox 26"/>
          <p:cNvSpPr txBox="1"/>
          <p:nvPr/>
        </p:nvSpPr>
        <p:spPr>
          <a:xfrm>
            <a:off x="8382000" y="3670771"/>
            <a:ext cx="990600" cy="2723823"/>
          </a:xfrm>
          <a:prstGeom prst="rect">
            <a:avLst/>
          </a:prstGeom>
          <a:noFill/>
          <a:ln>
            <a:solidFill>
              <a:schemeClr val="tx1"/>
            </a:solidFill>
          </a:ln>
        </p:spPr>
        <p:txBody>
          <a:bodyPr wrap="square" rtlCol="0">
            <a:spAutoFit/>
          </a:bodyPr>
          <a:lstStyle/>
          <a:p>
            <a:pPr algn="ctr"/>
            <a:endParaRPr lang="en-US" sz="950" i="1" dirty="0">
              <a:latin typeface="+mn-lt"/>
            </a:endParaRPr>
          </a:p>
          <a:p>
            <a:pPr algn="ctr"/>
            <a:endParaRPr lang="en-US" sz="950" i="1" dirty="0">
              <a:latin typeface="+mn-lt"/>
            </a:endParaRPr>
          </a:p>
          <a:p>
            <a:pPr algn="ctr"/>
            <a:endParaRPr lang="en-US" sz="950" i="1" dirty="0">
              <a:latin typeface="+mn-lt"/>
            </a:endParaRPr>
          </a:p>
          <a:p>
            <a:pPr algn="ctr"/>
            <a:endParaRPr lang="en-US" sz="950" i="1" dirty="0">
              <a:latin typeface="+mn-lt"/>
            </a:endParaRPr>
          </a:p>
          <a:p>
            <a:pPr algn="ctr"/>
            <a:endParaRPr lang="en-US" sz="950" i="1" dirty="0">
              <a:latin typeface="+mn-lt"/>
            </a:endParaRPr>
          </a:p>
          <a:p>
            <a:pPr algn="ctr"/>
            <a:endParaRPr lang="en-US" sz="950" i="1" dirty="0">
              <a:latin typeface="+mn-lt"/>
            </a:endParaRPr>
          </a:p>
          <a:p>
            <a:pPr algn="ctr"/>
            <a:endParaRPr lang="en-US" sz="950" i="1" dirty="0">
              <a:latin typeface="+mn-lt"/>
            </a:endParaRPr>
          </a:p>
          <a:p>
            <a:pPr algn="ctr"/>
            <a:r>
              <a:rPr lang="en-US" sz="950" i="1" dirty="0">
                <a:latin typeface="+mn-lt"/>
              </a:rPr>
              <a:t>Legislation does not authorize state to begin implementation through a SPA.</a:t>
            </a:r>
          </a:p>
          <a:p>
            <a:pPr algn="ctr"/>
            <a:endParaRPr lang="en-US" sz="950" i="1" dirty="0">
              <a:latin typeface="+mn-lt"/>
            </a:endParaRPr>
          </a:p>
          <a:p>
            <a:pPr algn="ctr"/>
            <a:endParaRPr lang="en-US" sz="950" i="1" dirty="0">
              <a:latin typeface="+mn-lt"/>
            </a:endParaRPr>
          </a:p>
          <a:p>
            <a:pPr algn="ctr"/>
            <a:endParaRPr lang="en-US" sz="950" i="1" dirty="0">
              <a:latin typeface="+mn-lt"/>
            </a:endParaRPr>
          </a:p>
          <a:p>
            <a:pPr algn="ctr"/>
            <a:endParaRPr lang="en-US" sz="950" i="1" dirty="0">
              <a:latin typeface="+mn-lt"/>
            </a:endParaRPr>
          </a:p>
          <a:p>
            <a:pPr algn="ctr"/>
            <a:endParaRPr lang="en-US" sz="950" i="1" dirty="0">
              <a:latin typeface="+mn-lt"/>
            </a:endParaRPr>
          </a:p>
          <a:p>
            <a:pPr algn="ctr"/>
            <a:endParaRPr lang="en-US" sz="950" i="1" dirty="0">
              <a:latin typeface="+mn-lt"/>
            </a:endParaRPr>
          </a:p>
        </p:txBody>
      </p:sp>
      <p:sp>
        <p:nvSpPr>
          <p:cNvPr id="2" name="Footer Placeholder 1"/>
          <p:cNvSpPr>
            <a:spLocks noGrp="1"/>
          </p:cNvSpPr>
          <p:nvPr>
            <p:ph type="ftr" sz="quarter" idx="10"/>
          </p:nvPr>
        </p:nvSpPr>
        <p:spPr/>
        <p:txBody>
          <a:bodyPr/>
          <a:lstStyle/>
          <a:p>
            <a:r>
              <a:rPr lang="en-US" altLang="en-US" dirty="0"/>
              <a:t>Medicaid Expansion Council Meeting | Kansas Expansion</a:t>
            </a:r>
          </a:p>
        </p:txBody>
      </p:sp>
      <p:sp>
        <p:nvSpPr>
          <p:cNvPr id="25" name="TextBox 24"/>
          <p:cNvSpPr txBox="1"/>
          <p:nvPr/>
        </p:nvSpPr>
        <p:spPr>
          <a:xfrm>
            <a:off x="457199" y="1019905"/>
            <a:ext cx="1676401" cy="261610"/>
          </a:xfrm>
          <a:prstGeom prst="rect">
            <a:avLst/>
          </a:prstGeom>
          <a:noFill/>
        </p:spPr>
        <p:txBody>
          <a:bodyPr wrap="square" rtlCol="0">
            <a:spAutoFit/>
          </a:bodyPr>
          <a:lstStyle/>
          <a:p>
            <a:r>
              <a:rPr lang="en-US" sz="1100" b="1" dirty="0">
                <a:solidFill>
                  <a:schemeClr val="bg1"/>
                </a:solidFill>
                <a:latin typeface="+mn-lt"/>
              </a:rPr>
              <a:t>Potential Outcomes</a:t>
            </a:r>
          </a:p>
        </p:txBody>
      </p:sp>
    </p:spTree>
    <p:extLst>
      <p:ext uri="{BB962C8B-B14F-4D97-AF65-F5344CB8AC3E}">
        <p14:creationId xmlns:p14="http://schemas.microsoft.com/office/powerpoint/2010/main" val="1584754889"/>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5tHfVDaqSaf3WYhmnWeTdA"/>
</p:tagLst>
</file>

<file path=ppt/theme/theme1.xml><?xml version="1.0" encoding="utf-8"?>
<a:theme xmlns:a="http://schemas.openxmlformats.org/drawingml/2006/main" name="Manatt Health">
  <a:themeElements>
    <a:clrScheme name="Manatt Health">
      <a:dk1>
        <a:srgbClr val="000000"/>
      </a:dk1>
      <a:lt1>
        <a:srgbClr val="FFFFFF"/>
      </a:lt1>
      <a:dk2>
        <a:srgbClr val="5C5E66"/>
      </a:dk2>
      <a:lt2>
        <a:srgbClr val="386794"/>
      </a:lt2>
      <a:accent1>
        <a:srgbClr val="F0AB00"/>
      </a:accent1>
      <a:accent2>
        <a:srgbClr val="386794"/>
      </a:accent2>
      <a:accent3>
        <a:srgbClr val="7AB800"/>
      </a:accent3>
      <a:accent4>
        <a:srgbClr val="C50084"/>
      </a:accent4>
      <a:accent5>
        <a:srgbClr val="FA6F00"/>
      </a:accent5>
      <a:accent6>
        <a:srgbClr val="0039A6"/>
      </a:accent6>
      <a:hlink>
        <a:srgbClr val="5C5E66"/>
      </a:hlink>
      <a:folHlink>
        <a:srgbClr val="808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effectLst/>
      </a:spPr>
      <a:bodyPr lIns="91440" tIns="91440" rIns="91440" bIns="91440" rtlCol="0" anchor="ctr" anchorCtr="0">
        <a:noAutofit/>
      </a:bodyPr>
      <a:lstStyle>
        <a:defPPr algn="ctr" eaLnBrk="1" hangingPunct="1">
          <a:defRPr sz="1600" b="1" dirty="0">
            <a:solidFill>
              <a:schemeClr val="bg1"/>
            </a:solidFill>
            <a:latin typeface="+mn-lt"/>
          </a:defRPr>
        </a:defPPr>
      </a:lstStyle>
    </a:spDef>
    <a:lnDef>
      <a:spPr bwMode="auto">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spAutoFit/>
      </a:bodyPr>
      <a:lstStyle>
        <a:defPPr>
          <a:defRPr dirty="0" smtClean="0">
            <a:latin typeface="+mn-lt"/>
          </a:defRPr>
        </a:defPPr>
      </a:lstStyle>
    </a:txDef>
  </a:objectDefaults>
  <a:extraClrSchemeLst>
    <a:extraClrScheme>
      <a:clrScheme name="Title Page - Internal Presentation 1">
        <a:dk1>
          <a:srgbClr val="000000"/>
        </a:dk1>
        <a:lt1>
          <a:srgbClr val="FFFFFF"/>
        </a:lt1>
        <a:dk2>
          <a:srgbClr val="F0AB00"/>
        </a:dk2>
        <a:lt2>
          <a:srgbClr val="00A8B4"/>
        </a:lt2>
        <a:accent1>
          <a:srgbClr val="7AB800"/>
        </a:accent1>
        <a:accent2>
          <a:srgbClr val="D52B1E"/>
        </a:accent2>
        <a:accent3>
          <a:srgbClr val="FFFFFF"/>
        </a:accent3>
        <a:accent4>
          <a:srgbClr val="000000"/>
        </a:accent4>
        <a:accent5>
          <a:srgbClr val="BED8AA"/>
        </a:accent5>
        <a:accent6>
          <a:srgbClr val="C1261A"/>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2">
        <a:dk1>
          <a:srgbClr val="000000"/>
        </a:dk1>
        <a:lt1>
          <a:srgbClr val="FFFFFF"/>
        </a:lt1>
        <a:dk2>
          <a:srgbClr val="F0AB00"/>
        </a:dk2>
        <a:lt2>
          <a:srgbClr val="00A8B4"/>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3">
        <a:dk1>
          <a:srgbClr val="000000"/>
        </a:dk1>
        <a:lt1>
          <a:srgbClr val="FFFFFF"/>
        </a:lt1>
        <a:dk2>
          <a:srgbClr val="F0AB00"/>
        </a:dk2>
        <a:lt2>
          <a:srgbClr val="215C6E"/>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4">
        <a:dk1>
          <a:srgbClr val="000000"/>
        </a:dk1>
        <a:lt1>
          <a:srgbClr val="FFFFFF"/>
        </a:lt1>
        <a:dk2>
          <a:srgbClr val="F0AB00"/>
        </a:dk2>
        <a:lt2>
          <a:srgbClr val="004157"/>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5">
        <a:dk1>
          <a:srgbClr val="000000"/>
        </a:dk1>
        <a:lt1>
          <a:srgbClr val="FFFFFF"/>
        </a:lt1>
        <a:dk2>
          <a:srgbClr val="F0AB00"/>
        </a:dk2>
        <a:lt2>
          <a:srgbClr val="0099A5"/>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340</TotalTime>
  <Words>1791</Words>
  <Application>Microsoft Office PowerPoint</Application>
  <PresentationFormat>Custom</PresentationFormat>
  <Paragraphs>258</Paragraphs>
  <Slides>14</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rial</vt:lpstr>
      <vt:lpstr>Arial Unicode MS</vt:lpstr>
      <vt:lpstr>Calibri</vt:lpstr>
      <vt:lpstr>Georgia</vt:lpstr>
      <vt:lpstr>Lato Black</vt:lpstr>
      <vt:lpstr>Wingdings</vt:lpstr>
      <vt:lpstr>Wingdings 2</vt:lpstr>
      <vt:lpstr>Manatt Health</vt:lpstr>
      <vt:lpstr>think-cell Slide</vt:lpstr>
      <vt:lpstr>Coverage Components of Senate and House Proposals to  Expand Medicaid in Kansas</vt:lpstr>
      <vt:lpstr>Senate Proposal</vt:lpstr>
      <vt:lpstr>Overview: Three Step Approach to Coverage</vt:lpstr>
      <vt:lpstr>Mapping Out Step 1</vt:lpstr>
      <vt:lpstr>Mapping Out Step 2</vt:lpstr>
      <vt:lpstr>Mapping Out Step 3</vt:lpstr>
      <vt:lpstr>H.B. 2066</vt:lpstr>
      <vt:lpstr>Approach to Coverage</vt:lpstr>
      <vt:lpstr>Mapping Out the Approach</vt:lpstr>
      <vt:lpstr>Potential Approach to Ensure Timely Implementation</vt:lpstr>
      <vt:lpstr>Notes</vt:lpstr>
      <vt:lpstr>Appendix</vt:lpstr>
      <vt:lpstr>1115 Waiver Submission and Decision Timeline</vt:lpstr>
      <vt:lpstr>Section 1332 Waiver Process Timeline</vt:lpstr>
    </vt:vector>
  </TitlesOfParts>
  <Company>Manatt, Phelps &amp; Phillips,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Document Title&gt;</dc:title>
  <dc:creator>Todd Iverson</dc:creator>
  <cp:lastModifiedBy>Picher, Caroline</cp:lastModifiedBy>
  <cp:revision>954</cp:revision>
  <cp:lastPrinted>2019-12-09T17:58:56Z</cp:lastPrinted>
  <dcterms:created xsi:type="dcterms:W3CDTF">2017-08-02T23:47:16Z</dcterms:created>
  <dcterms:modified xsi:type="dcterms:W3CDTF">2019-12-12T00:07:58Z</dcterms:modified>
</cp:coreProperties>
</file>